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334" r:id="rId2"/>
    <p:sldId id="363" r:id="rId3"/>
    <p:sldId id="355" r:id="rId4"/>
    <p:sldId id="358" r:id="rId5"/>
    <p:sldId id="359" r:id="rId6"/>
    <p:sldId id="361" r:id="rId7"/>
    <p:sldId id="360" r:id="rId8"/>
    <p:sldId id="364" r:id="rId9"/>
    <p:sldId id="365" r:id="rId10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34"/>
          </p14:sldIdLst>
        </p14:section>
        <p14:section name="Mini-Styleguide" id="{39D5ADB3-DA69-460C-A06D-3683522E5CF4}">
          <p14:sldIdLst>
            <p14:sldId id="363"/>
            <p14:sldId id="355"/>
            <p14:sldId id="358"/>
            <p14:sldId id="359"/>
            <p14:sldId id="361"/>
            <p14:sldId id="360"/>
            <p14:sldId id="364"/>
            <p14:sldId id="3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9FD"/>
    <a:srgbClr val="D5E8D5"/>
    <a:srgbClr val="D77470"/>
    <a:srgbClr val="FBE5CB"/>
    <a:srgbClr val="F3A872"/>
    <a:srgbClr val="F5F9FE"/>
    <a:srgbClr val="F32872"/>
    <a:srgbClr val="E1D6E6"/>
    <a:srgbClr val="F6F4F9"/>
    <a:srgbClr val="32BB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6023" autoAdjust="0"/>
  </p:normalViewPr>
  <p:slideViewPr>
    <p:cSldViewPr snapToGrid="0" showGuides="1">
      <p:cViewPr varScale="1">
        <p:scale>
          <a:sx n="81" d="100"/>
          <a:sy n="81" d="100"/>
        </p:scale>
        <p:origin x="75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67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ng, Han" userId="9a056b73-0254-4e07-9351-ba9f4ce96737" providerId="ADAL" clId="{BE80FE12-4646-4FA4-A284-ABB4D2A3A409}"/>
    <pc:docChg chg="undo custSel addSld delSld modSld sldOrd modMainMaster modSection">
      <pc:chgData name="Wang, Han" userId="9a056b73-0254-4e07-9351-ba9f4ce96737" providerId="ADAL" clId="{BE80FE12-4646-4FA4-A284-ABB4D2A3A409}" dt="2024-04-11T12:55:30.194" v="6557"/>
      <pc:docMkLst>
        <pc:docMk/>
      </pc:docMkLst>
      <pc:sldChg chg="addSp modSp mod">
        <pc:chgData name="Wang, Han" userId="9a056b73-0254-4e07-9351-ba9f4ce96737" providerId="ADAL" clId="{BE80FE12-4646-4FA4-A284-ABB4D2A3A409}" dt="2024-04-05T07:36:53.007" v="6207" actId="20577"/>
        <pc:sldMkLst>
          <pc:docMk/>
          <pc:sldMk cId="2388169513" sldId="334"/>
        </pc:sldMkLst>
        <pc:spChg chg="mod">
          <ac:chgData name="Wang, Han" userId="9a056b73-0254-4e07-9351-ba9f4ce96737" providerId="ADAL" clId="{BE80FE12-4646-4FA4-A284-ABB4D2A3A409}" dt="2024-03-18T15:39:49.650" v="161" actId="1076"/>
          <ac:spMkLst>
            <pc:docMk/>
            <pc:sldMk cId="2388169513" sldId="334"/>
            <ac:spMk id="3" creationId="{11CDC082-012F-4E61-858B-C0FB30EFD63D}"/>
          </ac:spMkLst>
        </pc:spChg>
        <pc:spChg chg="add mod">
          <ac:chgData name="Wang, Han" userId="9a056b73-0254-4e07-9351-ba9f4ce96737" providerId="ADAL" clId="{BE80FE12-4646-4FA4-A284-ABB4D2A3A409}" dt="2024-04-05T07:36:53.007" v="6207" actId="20577"/>
          <ac:spMkLst>
            <pc:docMk/>
            <pc:sldMk cId="2388169513" sldId="334"/>
            <ac:spMk id="7" creationId="{3B691346-5DBE-2464-DB6F-B5E7270C6CDC}"/>
          </ac:spMkLst>
        </pc:spChg>
        <pc:spChg chg="add mod">
          <ac:chgData name="Wang, Han" userId="9a056b73-0254-4e07-9351-ba9f4ce96737" providerId="ADAL" clId="{BE80FE12-4646-4FA4-A284-ABB4D2A3A409}" dt="2024-03-18T15:52:25.610" v="521" actId="1076"/>
          <ac:spMkLst>
            <pc:docMk/>
            <pc:sldMk cId="2388169513" sldId="334"/>
            <ac:spMk id="8" creationId="{D4E057A6-9666-36D0-7683-D9E1DE41CB6D}"/>
          </ac:spMkLst>
        </pc:spChg>
        <pc:spChg chg="add mod">
          <ac:chgData name="Wang, Han" userId="9a056b73-0254-4e07-9351-ba9f4ce96737" providerId="ADAL" clId="{BE80FE12-4646-4FA4-A284-ABB4D2A3A409}" dt="2024-03-18T15:52:52.243" v="526" actId="20577"/>
          <ac:spMkLst>
            <pc:docMk/>
            <pc:sldMk cId="2388169513" sldId="334"/>
            <ac:spMk id="9" creationId="{2A496984-8486-7F89-706A-C27AFF0C9203}"/>
          </ac:spMkLst>
        </pc:spChg>
        <pc:spChg chg="add mod">
          <ac:chgData name="Wang, Han" userId="9a056b73-0254-4e07-9351-ba9f4ce96737" providerId="ADAL" clId="{BE80FE12-4646-4FA4-A284-ABB4D2A3A409}" dt="2024-03-18T15:52:25.610" v="521" actId="1076"/>
          <ac:spMkLst>
            <pc:docMk/>
            <pc:sldMk cId="2388169513" sldId="334"/>
            <ac:spMk id="10" creationId="{9DED30E4-AB64-65A5-7CEC-4A5CAC5BCCC7}"/>
          </ac:spMkLst>
        </pc:spChg>
        <pc:picChg chg="add mod">
          <ac:chgData name="Wang, Han" userId="9a056b73-0254-4e07-9351-ba9f4ce96737" providerId="ADAL" clId="{BE80FE12-4646-4FA4-A284-ABB4D2A3A409}" dt="2024-03-18T15:37:55.662" v="7" actId="1076"/>
          <ac:picMkLst>
            <pc:docMk/>
            <pc:sldMk cId="2388169513" sldId="334"/>
            <ac:picMk id="6" creationId="{A4F4C35D-CD01-08B2-E3F4-6AE9040ED3A4}"/>
          </ac:picMkLst>
        </pc:picChg>
      </pc:sldChg>
      <pc:sldChg chg="del">
        <pc:chgData name="Wang, Han" userId="9a056b73-0254-4e07-9351-ba9f4ce96737" providerId="ADAL" clId="{BE80FE12-4646-4FA4-A284-ABB4D2A3A409}" dt="2024-03-21T16:18:09.460" v="5789" actId="47"/>
        <pc:sldMkLst>
          <pc:docMk/>
          <pc:sldMk cId="2969839703" sldId="343"/>
        </pc:sldMkLst>
      </pc:sldChg>
      <pc:sldChg chg="del">
        <pc:chgData name="Wang, Han" userId="9a056b73-0254-4e07-9351-ba9f4ce96737" providerId="ADAL" clId="{BE80FE12-4646-4FA4-A284-ABB4D2A3A409}" dt="2024-03-21T16:18:08.424" v="5788" actId="47"/>
        <pc:sldMkLst>
          <pc:docMk/>
          <pc:sldMk cId="3753874814" sldId="347"/>
        </pc:sldMkLst>
      </pc:sldChg>
      <pc:sldChg chg="addSp delSp modSp del mod">
        <pc:chgData name="Wang, Han" userId="9a056b73-0254-4e07-9351-ba9f4ce96737" providerId="ADAL" clId="{BE80FE12-4646-4FA4-A284-ABB4D2A3A409}" dt="2024-03-21T16:18:10.639" v="5790" actId="47"/>
        <pc:sldMkLst>
          <pc:docMk/>
          <pc:sldMk cId="1530891302" sldId="350"/>
        </pc:sldMkLst>
        <pc:spChg chg="add del mod">
          <ac:chgData name="Wang, Han" userId="9a056b73-0254-4e07-9351-ba9f4ce96737" providerId="ADAL" clId="{BE80FE12-4646-4FA4-A284-ABB4D2A3A409}" dt="2024-03-18T16:27:03.167" v="725" actId="478"/>
          <ac:spMkLst>
            <pc:docMk/>
            <pc:sldMk cId="1530891302" sldId="350"/>
            <ac:spMk id="2" creationId="{1EBBE351-4F78-A248-8AE3-72E252EA656B}"/>
          </ac:spMkLst>
        </pc:spChg>
        <pc:spChg chg="mod">
          <ac:chgData name="Wang, Han" userId="9a056b73-0254-4e07-9351-ba9f4ce96737" providerId="ADAL" clId="{BE80FE12-4646-4FA4-A284-ABB4D2A3A409}" dt="2024-03-18T16:26:55.378" v="724" actId="571"/>
          <ac:spMkLst>
            <pc:docMk/>
            <pc:sldMk cId="1530891302" sldId="350"/>
            <ac:spMk id="11" creationId="{E58CDBE6-3ECF-35CA-B6EC-9D78F743E6C7}"/>
          </ac:spMkLst>
        </pc:spChg>
        <pc:spChg chg="mod">
          <ac:chgData name="Wang, Han" userId="9a056b73-0254-4e07-9351-ba9f4ce96737" providerId="ADAL" clId="{BE80FE12-4646-4FA4-A284-ABB4D2A3A409}" dt="2024-03-18T16:26:55.378" v="724" actId="571"/>
          <ac:spMkLst>
            <pc:docMk/>
            <pc:sldMk cId="1530891302" sldId="350"/>
            <ac:spMk id="14" creationId="{9CEED914-9E6C-73CA-8181-671B6C146D68}"/>
          </ac:spMkLst>
        </pc:spChg>
        <pc:spChg chg="mod">
          <ac:chgData name="Wang, Han" userId="9a056b73-0254-4e07-9351-ba9f4ce96737" providerId="ADAL" clId="{BE80FE12-4646-4FA4-A284-ABB4D2A3A409}" dt="2024-03-18T16:26:55.378" v="724" actId="571"/>
          <ac:spMkLst>
            <pc:docMk/>
            <pc:sldMk cId="1530891302" sldId="350"/>
            <ac:spMk id="15" creationId="{3328F191-DA8F-E4AB-8342-78D4CC28C5F8}"/>
          </ac:spMkLst>
        </pc:spChg>
        <pc:spChg chg="mod">
          <ac:chgData name="Wang, Han" userId="9a056b73-0254-4e07-9351-ba9f4ce96737" providerId="ADAL" clId="{BE80FE12-4646-4FA4-A284-ABB4D2A3A409}" dt="2024-03-18T16:26:55.378" v="724" actId="571"/>
          <ac:spMkLst>
            <pc:docMk/>
            <pc:sldMk cId="1530891302" sldId="350"/>
            <ac:spMk id="20" creationId="{F915C9D6-6CC6-7554-E046-9229D126A48A}"/>
          </ac:spMkLst>
        </pc:spChg>
        <pc:grpChg chg="add del mod">
          <ac:chgData name="Wang, Han" userId="9a056b73-0254-4e07-9351-ba9f4ce96737" providerId="ADAL" clId="{BE80FE12-4646-4FA4-A284-ABB4D2A3A409}" dt="2024-03-18T16:27:06.513" v="726" actId="478"/>
          <ac:grpSpMkLst>
            <pc:docMk/>
            <pc:sldMk cId="1530891302" sldId="350"/>
            <ac:grpSpMk id="7" creationId="{0F9E94C5-35FE-EADC-6CC5-DE7A4A7B681C}"/>
          </ac:grpSpMkLst>
        </pc:grpChg>
        <pc:cxnChg chg="add del mod">
          <ac:chgData name="Wang, Han" userId="9a056b73-0254-4e07-9351-ba9f4ce96737" providerId="ADAL" clId="{BE80FE12-4646-4FA4-A284-ABB4D2A3A409}" dt="2024-03-18T16:27:03.167" v="725" actId="478"/>
          <ac:cxnSpMkLst>
            <pc:docMk/>
            <pc:sldMk cId="1530891302" sldId="350"/>
            <ac:cxnSpMk id="28" creationId="{A96A282D-F8C9-F3EF-B7F9-AF56115C89C2}"/>
          </ac:cxnSpMkLst>
        </pc:cxnChg>
        <pc:cxnChg chg="add del mod">
          <ac:chgData name="Wang, Han" userId="9a056b73-0254-4e07-9351-ba9f4ce96737" providerId="ADAL" clId="{BE80FE12-4646-4FA4-A284-ABB4D2A3A409}" dt="2024-03-18T16:27:03.167" v="725" actId="478"/>
          <ac:cxnSpMkLst>
            <pc:docMk/>
            <pc:sldMk cId="1530891302" sldId="350"/>
            <ac:cxnSpMk id="29" creationId="{070140A2-6B8E-5420-CF85-9AB57B0D26D7}"/>
          </ac:cxnSpMkLst>
        </pc:cxnChg>
      </pc:sldChg>
      <pc:sldChg chg="addSp modSp del mod">
        <pc:chgData name="Wang, Han" userId="9a056b73-0254-4e07-9351-ba9f4ce96737" providerId="ADAL" clId="{BE80FE12-4646-4FA4-A284-ABB4D2A3A409}" dt="2024-03-21T16:17:54.835" v="5786" actId="47"/>
        <pc:sldMkLst>
          <pc:docMk/>
          <pc:sldMk cId="142698870" sldId="351"/>
        </pc:sldMkLst>
        <pc:spChg chg="add mod">
          <ac:chgData name="Wang, Han" userId="9a056b73-0254-4e07-9351-ba9f4ce96737" providerId="ADAL" clId="{BE80FE12-4646-4FA4-A284-ABB4D2A3A409}" dt="2024-03-20T16:20:00.167" v="4518" actId="20577"/>
          <ac:spMkLst>
            <pc:docMk/>
            <pc:sldMk cId="142698870" sldId="351"/>
            <ac:spMk id="2" creationId="{44F1347D-F9C0-1D54-A371-CDBCB69F781B}"/>
          </ac:spMkLst>
        </pc:spChg>
      </pc:sldChg>
      <pc:sldChg chg="del">
        <pc:chgData name="Wang, Han" userId="9a056b73-0254-4e07-9351-ba9f4ce96737" providerId="ADAL" clId="{BE80FE12-4646-4FA4-A284-ABB4D2A3A409}" dt="2024-03-21T16:18:07.440" v="5787" actId="47"/>
        <pc:sldMkLst>
          <pc:docMk/>
          <pc:sldMk cId="2265079741" sldId="352"/>
        </pc:sldMkLst>
      </pc:sldChg>
      <pc:sldChg chg="del">
        <pc:chgData name="Wang, Han" userId="9a056b73-0254-4e07-9351-ba9f4ce96737" providerId="ADAL" clId="{BE80FE12-4646-4FA4-A284-ABB4D2A3A409}" dt="2024-03-21T16:17:53.716" v="5785" actId="47"/>
        <pc:sldMkLst>
          <pc:docMk/>
          <pc:sldMk cId="2866113744" sldId="353"/>
        </pc:sldMkLst>
      </pc:sldChg>
      <pc:sldChg chg="addSp delSp modSp new del mod">
        <pc:chgData name="Wang, Han" userId="9a056b73-0254-4e07-9351-ba9f4ce96737" providerId="ADAL" clId="{BE80FE12-4646-4FA4-A284-ABB4D2A3A409}" dt="2024-03-19T14:02:17.709" v="2166" actId="47"/>
        <pc:sldMkLst>
          <pc:docMk/>
          <pc:sldMk cId="2767448738" sldId="354"/>
        </pc:sldMkLst>
        <pc:spChg chg="mod">
          <ac:chgData name="Wang, Han" userId="9a056b73-0254-4e07-9351-ba9f4ce96737" providerId="ADAL" clId="{BE80FE12-4646-4FA4-A284-ABB4D2A3A409}" dt="2024-03-18T15:55:27.420" v="535" actId="20577"/>
          <ac:spMkLst>
            <pc:docMk/>
            <pc:sldMk cId="2767448738" sldId="354"/>
            <ac:spMk id="2" creationId="{6A4A5E6F-2BC6-E952-D92E-5505FD1A0DBA}"/>
          </ac:spMkLst>
        </pc:spChg>
        <pc:spChg chg="mod">
          <ac:chgData name="Wang, Han" userId="9a056b73-0254-4e07-9351-ba9f4ce96737" providerId="ADAL" clId="{BE80FE12-4646-4FA4-A284-ABB4D2A3A409}" dt="2024-03-18T16:00:26.016" v="692" actId="20577"/>
          <ac:spMkLst>
            <pc:docMk/>
            <pc:sldMk cId="2767448738" sldId="354"/>
            <ac:spMk id="6" creationId="{A3E8F407-25BF-71A6-D925-FCAB8F9EABA2}"/>
          </ac:spMkLst>
        </pc:spChg>
        <pc:spChg chg="mod">
          <ac:chgData name="Wang, Han" userId="9a056b73-0254-4e07-9351-ba9f4ce96737" providerId="ADAL" clId="{BE80FE12-4646-4FA4-A284-ABB4D2A3A409}" dt="2024-03-19T09:54:42.165" v="1150" actId="403"/>
          <ac:spMkLst>
            <pc:docMk/>
            <pc:sldMk cId="2767448738" sldId="354"/>
            <ac:spMk id="7" creationId="{E2535621-870D-526B-703A-EF59BE56CF41}"/>
          </ac:spMkLst>
        </pc:spChg>
        <pc:spChg chg="mod">
          <ac:chgData name="Wang, Han" userId="9a056b73-0254-4e07-9351-ba9f4ce96737" providerId="ADAL" clId="{BE80FE12-4646-4FA4-A284-ABB4D2A3A409}" dt="2024-03-19T10:46:52.027" v="1309" actId="1076"/>
          <ac:spMkLst>
            <pc:docMk/>
            <pc:sldMk cId="2767448738" sldId="354"/>
            <ac:spMk id="8" creationId="{74CF4358-0D3D-DE5E-19A7-02854FBD5389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9" creationId="{FDC37BEF-522D-9446-4581-83F93DDE0541}"/>
          </ac:spMkLst>
        </pc:spChg>
        <pc:spChg chg="mod">
          <ac:chgData name="Wang, Han" userId="9a056b73-0254-4e07-9351-ba9f4ce96737" providerId="ADAL" clId="{BE80FE12-4646-4FA4-A284-ABB4D2A3A409}" dt="2024-03-19T09:18:47.055" v="800" actId="208"/>
          <ac:spMkLst>
            <pc:docMk/>
            <pc:sldMk cId="2767448738" sldId="354"/>
            <ac:spMk id="11" creationId="{C04FC106-C5ED-BB72-6A32-68D6922E99B0}"/>
          </ac:spMkLst>
        </pc:spChg>
        <pc:spChg chg="mod">
          <ac:chgData name="Wang, Han" userId="9a056b73-0254-4e07-9351-ba9f4ce96737" providerId="ADAL" clId="{BE80FE12-4646-4FA4-A284-ABB4D2A3A409}" dt="2024-03-19T09:18:47.055" v="800" actId="208"/>
          <ac:spMkLst>
            <pc:docMk/>
            <pc:sldMk cId="2767448738" sldId="354"/>
            <ac:spMk id="12" creationId="{6BC028DB-6A64-18BC-F715-85C8A56F0557}"/>
          </ac:spMkLst>
        </pc:spChg>
        <pc:spChg chg="mod">
          <ac:chgData name="Wang, Han" userId="9a056b73-0254-4e07-9351-ba9f4ce96737" providerId="ADAL" clId="{BE80FE12-4646-4FA4-A284-ABB4D2A3A409}" dt="2024-03-19T09:18:47.055" v="800" actId="208"/>
          <ac:spMkLst>
            <pc:docMk/>
            <pc:sldMk cId="2767448738" sldId="354"/>
            <ac:spMk id="13" creationId="{5C80AD79-0BC4-85EC-F11A-6514E34320A9}"/>
          </ac:spMkLst>
        </pc:spChg>
        <pc:spChg chg="mod">
          <ac:chgData name="Wang, Han" userId="9a056b73-0254-4e07-9351-ba9f4ce96737" providerId="ADAL" clId="{BE80FE12-4646-4FA4-A284-ABB4D2A3A409}" dt="2024-03-19T09:18:47.055" v="800" actId="208"/>
          <ac:spMkLst>
            <pc:docMk/>
            <pc:sldMk cId="2767448738" sldId="354"/>
            <ac:spMk id="14" creationId="{5D9418D5-56C7-7EE8-D96F-FAF53402781E}"/>
          </ac:spMkLst>
        </pc:spChg>
        <pc:spChg chg="mod">
          <ac:chgData name="Wang, Han" userId="9a056b73-0254-4e07-9351-ba9f4ce96737" providerId="ADAL" clId="{BE80FE12-4646-4FA4-A284-ABB4D2A3A409}" dt="2024-03-19T09:18:47.055" v="800" actId="208"/>
          <ac:spMkLst>
            <pc:docMk/>
            <pc:sldMk cId="2767448738" sldId="354"/>
            <ac:spMk id="15" creationId="{77B4A61F-24CF-201A-377B-4140E5D72178}"/>
          </ac:spMkLst>
        </pc:spChg>
        <pc:spChg chg="add del mod">
          <ac:chgData name="Wang, Han" userId="9a056b73-0254-4e07-9351-ba9f4ce96737" providerId="ADAL" clId="{BE80FE12-4646-4FA4-A284-ABB4D2A3A409}" dt="2024-03-19T09:20:41.802" v="805" actId="478"/>
          <ac:spMkLst>
            <pc:docMk/>
            <pc:sldMk cId="2767448738" sldId="354"/>
            <ac:spMk id="16" creationId="{16DFC3C4-9C4E-CAD8-C4DB-606BDBBA8C94}"/>
          </ac:spMkLst>
        </pc:spChg>
        <pc:spChg chg="add del mod">
          <ac:chgData name="Wang, Han" userId="9a056b73-0254-4e07-9351-ba9f4ce96737" providerId="ADAL" clId="{BE80FE12-4646-4FA4-A284-ABB4D2A3A409}" dt="2024-03-19T09:20:43.065" v="806" actId="478"/>
          <ac:spMkLst>
            <pc:docMk/>
            <pc:sldMk cId="2767448738" sldId="354"/>
            <ac:spMk id="17" creationId="{D5D0C046-0485-ED57-7227-69750DFD85EA}"/>
          </ac:spMkLst>
        </pc:spChg>
        <pc:spChg chg="add del mod">
          <ac:chgData name="Wang, Han" userId="9a056b73-0254-4e07-9351-ba9f4ce96737" providerId="ADAL" clId="{BE80FE12-4646-4FA4-A284-ABB4D2A3A409}" dt="2024-03-19T09:20:40.589" v="804" actId="478"/>
          <ac:spMkLst>
            <pc:docMk/>
            <pc:sldMk cId="2767448738" sldId="354"/>
            <ac:spMk id="18" creationId="{DFD241FB-4C67-C5BC-2B47-E5779AC63E30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19" creationId="{7AE743B4-8B10-FDB8-E9E0-CA0FFD08A274}"/>
          </ac:spMkLst>
        </pc:spChg>
        <pc:spChg chg="mod">
          <ac:chgData name="Wang, Han" userId="9a056b73-0254-4e07-9351-ba9f4ce96737" providerId="ADAL" clId="{BE80FE12-4646-4FA4-A284-ABB4D2A3A409}" dt="2024-03-19T09:21:27.146" v="810" actId="208"/>
          <ac:spMkLst>
            <pc:docMk/>
            <pc:sldMk cId="2767448738" sldId="354"/>
            <ac:spMk id="21" creationId="{D2F473EA-7754-2E1E-6FF6-10DBF8CE323E}"/>
          </ac:spMkLst>
        </pc:spChg>
        <pc:spChg chg="mod">
          <ac:chgData name="Wang, Han" userId="9a056b73-0254-4e07-9351-ba9f4ce96737" providerId="ADAL" clId="{BE80FE12-4646-4FA4-A284-ABB4D2A3A409}" dt="2024-03-19T09:21:27.146" v="810" actId="208"/>
          <ac:spMkLst>
            <pc:docMk/>
            <pc:sldMk cId="2767448738" sldId="354"/>
            <ac:spMk id="22" creationId="{A8CCAFBF-EFB4-E10C-D5D5-CFE606F58787}"/>
          </ac:spMkLst>
        </pc:spChg>
        <pc:spChg chg="mod">
          <ac:chgData name="Wang, Han" userId="9a056b73-0254-4e07-9351-ba9f4ce96737" providerId="ADAL" clId="{BE80FE12-4646-4FA4-A284-ABB4D2A3A409}" dt="2024-03-19T09:21:27.146" v="810" actId="208"/>
          <ac:spMkLst>
            <pc:docMk/>
            <pc:sldMk cId="2767448738" sldId="354"/>
            <ac:spMk id="23" creationId="{C8F0AF96-E820-51ED-3FFE-213D1A96C7A2}"/>
          </ac:spMkLst>
        </pc:spChg>
        <pc:spChg chg="mod">
          <ac:chgData name="Wang, Han" userId="9a056b73-0254-4e07-9351-ba9f4ce96737" providerId="ADAL" clId="{BE80FE12-4646-4FA4-A284-ABB4D2A3A409}" dt="2024-03-19T09:21:27.146" v="810" actId="208"/>
          <ac:spMkLst>
            <pc:docMk/>
            <pc:sldMk cId="2767448738" sldId="354"/>
            <ac:spMk id="24" creationId="{379DAF85-BE93-2428-7002-C69F1DB2123A}"/>
          </ac:spMkLst>
        </pc:spChg>
        <pc:spChg chg="add del mod">
          <ac:chgData name="Wang, Han" userId="9a056b73-0254-4e07-9351-ba9f4ce96737" providerId="ADAL" clId="{BE80FE12-4646-4FA4-A284-ABB4D2A3A409}" dt="2024-03-19T09:12:35.304" v="748" actId="478"/>
          <ac:spMkLst>
            <pc:docMk/>
            <pc:sldMk cId="2767448738" sldId="354"/>
            <ac:spMk id="30" creationId="{96EF1A87-A557-065A-F36F-485AF341C336}"/>
          </ac:spMkLst>
        </pc:spChg>
        <pc:spChg chg="add del mod">
          <ac:chgData name="Wang, Han" userId="9a056b73-0254-4e07-9351-ba9f4ce96737" providerId="ADAL" clId="{BE80FE12-4646-4FA4-A284-ABB4D2A3A409}" dt="2024-03-19T09:12:37.655" v="749" actId="478"/>
          <ac:spMkLst>
            <pc:docMk/>
            <pc:sldMk cId="2767448738" sldId="354"/>
            <ac:spMk id="31" creationId="{BB5B0814-239E-5E73-B6F7-96FE24943687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32" creationId="{BF4C078A-4D67-15D8-DFAA-4C704D0BAB87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33" creationId="{A79A062A-3AB9-2E29-56BD-58254F9FC458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34" creationId="{057E6769-2B4D-FA86-BA12-FA1017C47D60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35" creationId="{42847CD3-E182-87B0-4F66-25FF98B2FB4D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36" creationId="{D01B314D-CA72-EFD0-FFFD-95F101A7AF01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37" creationId="{3F52AD27-4092-98EA-7296-D188644992D5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38" creationId="{8626BEB8-196A-A3EF-C268-7B6242785E2F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39" creationId="{73C8AF22-1255-E4C8-9525-34F4254CEF94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40" creationId="{1F688697-DDFA-1DCF-2CC9-678CAB3CCB9A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41" creationId="{1816645A-61D8-849F-8220-BB99F57D04BC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42" creationId="{11FEEE15-4F10-EA74-AB90-2482C8463642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43" creationId="{8BBF6476-F32A-486D-EB73-D6AB2565AD98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44" creationId="{408A449F-31CD-4FFB-6B9B-6ED15D6E373D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45" creationId="{46146988-C23F-DA88-71CD-8AE37FC9F4AA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46" creationId="{3B0049AB-9914-DA61-B639-7BA9C8B48B85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47" creationId="{922B7BB6-DA83-7F66-8C32-65769336D198}"/>
          </ac:spMkLst>
        </pc:spChg>
        <pc:spChg chg="add del mod">
          <ac:chgData name="Wang, Han" userId="9a056b73-0254-4e07-9351-ba9f4ce96737" providerId="ADAL" clId="{BE80FE12-4646-4FA4-A284-ABB4D2A3A409}" dt="2024-03-19T09:17:01.910" v="789" actId="478"/>
          <ac:spMkLst>
            <pc:docMk/>
            <pc:sldMk cId="2767448738" sldId="354"/>
            <ac:spMk id="48" creationId="{ACBA271E-3E32-8867-0377-74A345A6628B}"/>
          </ac:spMkLst>
        </pc:spChg>
        <pc:spChg chg="add del mod">
          <ac:chgData name="Wang, Han" userId="9a056b73-0254-4e07-9351-ba9f4ce96737" providerId="ADAL" clId="{BE80FE12-4646-4FA4-A284-ABB4D2A3A409}" dt="2024-03-19T09:17:20.399" v="792" actId="478"/>
          <ac:spMkLst>
            <pc:docMk/>
            <pc:sldMk cId="2767448738" sldId="354"/>
            <ac:spMk id="49" creationId="{5247A91B-D5C1-DAE3-5FDB-FCBE0F15FDA7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50" creationId="{A95F85ED-DB30-256E-257F-E5A013C45F02}"/>
          </ac:spMkLst>
        </pc:spChg>
        <pc:spChg chg="add mod">
          <ac:chgData name="Wang, Han" userId="9a056b73-0254-4e07-9351-ba9f4ce96737" providerId="ADAL" clId="{BE80FE12-4646-4FA4-A284-ABB4D2A3A409}" dt="2024-03-19T09:56:26.020" v="1157" actId="1076"/>
          <ac:spMkLst>
            <pc:docMk/>
            <pc:sldMk cId="2767448738" sldId="354"/>
            <ac:spMk id="51" creationId="{F3577CC6-8995-4F28-A387-4F29013E324F}"/>
          </ac:spMkLst>
        </pc:spChg>
        <pc:spChg chg="add del mod">
          <ac:chgData name="Wang, Han" userId="9a056b73-0254-4e07-9351-ba9f4ce96737" providerId="ADAL" clId="{BE80FE12-4646-4FA4-A284-ABB4D2A3A409}" dt="2024-03-19T09:24:47.952" v="867" actId="478"/>
          <ac:spMkLst>
            <pc:docMk/>
            <pc:sldMk cId="2767448738" sldId="354"/>
            <ac:spMk id="53" creationId="{98F43684-17B0-FEF0-06C3-EFE15FFD6C65}"/>
          </ac:spMkLst>
        </pc:spChg>
        <pc:spChg chg="add del mod">
          <ac:chgData name="Wang, Han" userId="9a056b73-0254-4e07-9351-ba9f4ce96737" providerId="ADAL" clId="{BE80FE12-4646-4FA4-A284-ABB4D2A3A409}" dt="2024-03-19T09:24:47.952" v="867" actId="478"/>
          <ac:spMkLst>
            <pc:docMk/>
            <pc:sldMk cId="2767448738" sldId="354"/>
            <ac:spMk id="54" creationId="{96F137DC-49EF-8A1F-8625-66737815B94E}"/>
          </ac:spMkLst>
        </pc:spChg>
        <pc:spChg chg="add del mod">
          <ac:chgData name="Wang, Han" userId="9a056b73-0254-4e07-9351-ba9f4ce96737" providerId="ADAL" clId="{BE80FE12-4646-4FA4-A284-ABB4D2A3A409}" dt="2024-03-19T09:24:47.952" v="867" actId="478"/>
          <ac:spMkLst>
            <pc:docMk/>
            <pc:sldMk cId="2767448738" sldId="354"/>
            <ac:spMk id="55" creationId="{7BC6579D-B79A-32CC-8F69-08E46FABCAD3}"/>
          </ac:spMkLst>
        </pc:spChg>
        <pc:spChg chg="mod">
          <ac:chgData name="Wang, Han" userId="9a056b73-0254-4e07-9351-ba9f4ce96737" providerId="ADAL" clId="{BE80FE12-4646-4FA4-A284-ABB4D2A3A409}" dt="2024-03-19T09:25:47.236" v="875" actId="693"/>
          <ac:spMkLst>
            <pc:docMk/>
            <pc:sldMk cId="2767448738" sldId="354"/>
            <ac:spMk id="59" creationId="{40EA8D0C-9221-B401-4068-1E351E0527B2}"/>
          </ac:spMkLst>
        </pc:spChg>
        <pc:spChg chg="mod">
          <ac:chgData name="Wang, Han" userId="9a056b73-0254-4e07-9351-ba9f4ce96737" providerId="ADAL" clId="{BE80FE12-4646-4FA4-A284-ABB4D2A3A409}" dt="2024-03-19T09:25:47.236" v="875" actId="693"/>
          <ac:spMkLst>
            <pc:docMk/>
            <pc:sldMk cId="2767448738" sldId="354"/>
            <ac:spMk id="60" creationId="{51C1184F-E0C4-38CB-D1C2-0DF740714D80}"/>
          </ac:spMkLst>
        </pc:spChg>
        <pc:spChg chg="mod">
          <ac:chgData name="Wang, Han" userId="9a056b73-0254-4e07-9351-ba9f4ce96737" providerId="ADAL" clId="{BE80FE12-4646-4FA4-A284-ABB4D2A3A409}" dt="2024-03-19T09:25:47.236" v="875" actId="693"/>
          <ac:spMkLst>
            <pc:docMk/>
            <pc:sldMk cId="2767448738" sldId="354"/>
            <ac:spMk id="61" creationId="{F59B5A63-3328-A084-1B6A-4773B5390972}"/>
          </ac:spMkLst>
        </pc:spChg>
        <pc:spChg chg="mod">
          <ac:chgData name="Wang, Han" userId="9a056b73-0254-4e07-9351-ba9f4ce96737" providerId="ADAL" clId="{BE80FE12-4646-4FA4-A284-ABB4D2A3A409}" dt="2024-03-19T09:25:47.236" v="875" actId="693"/>
          <ac:spMkLst>
            <pc:docMk/>
            <pc:sldMk cId="2767448738" sldId="354"/>
            <ac:spMk id="62" creationId="{BE7AC97E-1367-1780-7F97-B732D81DEC78}"/>
          </ac:spMkLst>
        </pc:spChg>
        <pc:spChg chg="mod">
          <ac:chgData name="Wang, Han" userId="9a056b73-0254-4e07-9351-ba9f4ce96737" providerId="ADAL" clId="{BE80FE12-4646-4FA4-A284-ABB4D2A3A409}" dt="2024-03-19T09:25:47.236" v="875" actId="693"/>
          <ac:spMkLst>
            <pc:docMk/>
            <pc:sldMk cId="2767448738" sldId="354"/>
            <ac:spMk id="63" creationId="{D57345DF-1ED4-CC95-73BF-610AB3DD922F}"/>
          </ac:spMkLst>
        </pc:spChg>
        <pc:spChg chg="add del mod">
          <ac:chgData name="Wang, Han" userId="9a056b73-0254-4e07-9351-ba9f4ce96737" providerId="ADAL" clId="{BE80FE12-4646-4FA4-A284-ABB4D2A3A409}" dt="2024-03-19T09:30:47.325" v="956" actId="478"/>
          <ac:spMkLst>
            <pc:docMk/>
            <pc:sldMk cId="2767448738" sldId="354"/>
            <ac:spMk id="64" creationId="{D9FCECB3-5878-D867-AB8A-12296519E656}"/>
          </ac:spMkLst>
        </pc:spChg>
        <pc:spChg chg="add del mod">
          <ac:chgData name="Wang, Han" userId="9a056b73-0254-4e07-9351-ba9f4ce96737" providerId="ADAL" clId="{BE80FE12-4646-4FA4-A284-ABB4D2A3A409}" dt="2024-03-19T09:55:31.470" v="1154" actId="478"/>
          <ac:spMkLst>
            <pc:docMk/>
            <pc:sldMk cId="2767448738" sldId="354"/>
            <ac:spMk id="65" creationId="{B54CFF0B-4CA6-02E7-7EAF-CA9CB418AD0D}"/>
          </ac:spMkLst>
        </pc:spChg>
        <pc:spChg chg="add del mod">
          <ac:chgData name="Wang, Han" userId="9a056b73-0254-4e07-9351-ba9f4ce96737" providerId="ADAL" clId="{BE80FE12-4646-4FA4-A284-ABB4D2A3A409}" dt="2024-03-19T09:55:31.470" v="1154" actId="478"/>
          <ac:spMkLst>
            <pc:docMk/>
            <pc:sldMk cId="2767448738" sldId="354"/>
            <ac:spMk id="66" creationId="{5EF1A399-3547-455A-F046-890670FED8A8}"/>
          </ac:spMkLst>
        </pc:spChg>
        <pc:spChg chg="add del mod">
          <ac:chgData name="Wang, Han" userId="9a056b73-0254-4e07-9351-ba9f4ce96737" providerId="ADAL" clId="{BE80FE12-4646-4FA4-A284-ABB4D2A3A409}" dt="2024-03-19T09:55:31.470" v="1154" actId="478"/>
          <ac:spMkLst>
            <pc:docMk/>
            <pc:sldMk cId="2767448738" sldId="354"/>
            <ac:spMk id="67" creationId="{B1A7ABF5-11B2-D43E-E12F-E58731370FA3}"/>
          </ac:spMkLst>
        </pc:spChg>
        <pc:spChg chg="add del mod">
          <ac:chgData name="Wang, Han" userId="9a056b73-0254-4e07-9351-ba9f4ce96737" providerId="ADAL" clId="{BE80FE12-4646-4FA4-A284-ABB4D2A3A409}" dt="2024-03-19T09:55:31.470" v="1154" actId="478"/>
          <ac:spMkLst>
            <pc:docMk/>
            <pc:sldMk cId="2767448738" sldId="354"/>
            <ac:spMk id="68" creationId="{9F07AE72-B3BC-DDCB-0731-AAB0C2A3EB8E}"/>
          </ac:spMkLst>
        </pc:spChg>
        <pc:spChg chg="add del mod ord">
          <ac:chgData name="Wang, Han" userId="9a056b73-0254-4e07-9351-ba9f4ce96737" providerId="ADAL" clId="{BE80FE12-4646-4FA4-A284-ABB4D2A3A409}" dt="2024-03-19T09:55:33.753" v="1155" actId="478"/>
          <ac:spMkLst>
            <pc:docMk/>
            <pc:sldMk cId="2767448738" sldId="354"/>
            <ac:spMk id="69" creationId="{2B06433C-9A78-2EAB-B400-B0D20164A439}"/>
          </ac:spMkLst>
        </pc:spChg>
        <pc:spChg chg="add del mod">
          <ac:chgData name="Wang, Han" userId="9a056b73-0254-4e07-9351-ba9f4ce96737" providerId="ADAL" clId="{BE80FE12-4646-4FA4-A284-ABB4D2A3A409}" dt="2024-03-19T09:55:31.470" v="1154" actId="478"/>
          <ac:spMkLst>
            <pc:docMk/>
            <pc:sldMk cId="2767448738" sldId="354"/>
            <ac:spMk id="93" creationId="{C48315DA-E676-ACBD-5F6C-102F4608EA4D}"/>
          </ac:spMkLst>
        </pc:spChg>
        <pc:spChg chg="add del mod">
          <ac:chgData name="Wang, Han" userId="9a056b73-0254-4e07-9351-ba9f4ce96737" providerId="ADAL" clId="{BE80FE12-4646-4FA4-A284-ABB4D2A3A409}" dt="2024-03-19T09:55:31.470" v="1154" actId="478"/>
          <ac:spMkLst>
            <pc:docMk/>
            <pc:sldMk cId="2767448738" sldId="354"/>
            <ac:spMk id="94" creationId="{E88160ED-DFF5-1205-D94D-A3F5452347F0}"/>
          </ac:spMkLst>
        </pc:spChg>
        <pc:spChg chg="add del mod">
          <ac:chgData name="Wang, Han" userId="9a056b73-0254-4e07-9351-ba9f4ce96737" providerId="ADAL" clId="{BE80FE12-4646-4FA4-A284-ABB4D2A3A409}" dt="2024-03-19T09:55:33.753" v="1155" actId="478"/>
          <ac:spMkLst>
            <pc:docMk/>
            <pc:sldMk cId="2767448738" sldId="354"/>
            <ac:spMk id="95" creationId="{D6A0DE83-933D-3BBC-02B3-9E2AB72E4114}"/>
          </ac:spMkLst>
        </pc:spChg>
        <pc:spChg chg="add mod">
          <ac:chgData name="Wang, Han" userId="9a056b73-0254-4e07-9351-ba9f4ce96737" providerId="ADAL" clId="{BE80FE12-4646-4FA4-A284-ABB4D2A3A409}" dt="2024-03-19T10:46:56.948" v="1310" actId="1076"/>
          <ac:spMkLst>
            <pc:docMk/>
            <pc:sldMk cId="2767448738" sldId="354"/>
            <ac:spMk id="99" creationId="{5D792DCA-BC12-B8FA-057C-9C621D6A7C1B}"/>
          </ac:spMkLst>
        </pc:spChg>
        <pc:spChg chg="add mod">
          <ac:chgData name="Wang, Han" userId="9a056b73-0254-4e07-9351-ba9f4ce96737" providerId="ADAL" clId="{BE80FE12-4646-4FA4-A284-ABB4D2A3A409}" dt="2024-03-19T10:46:56.948" v="1310" actId="1076"/>
          <ac:spMkLst>
            <pc:docMk/>
            <pc:sldMk cId="2767448738" sldId="354"/>
            <ac:spMk id="100" creationId="{BD3ED4A8-A8F8-629B-4457-EFDA33D9D961}"/>
          </ac:spMkLst>
        </pc:spChg>
        <pc:spChg chg="add mod">
          <ac:chgData name="Wang, Han" userId="9a056b73-0254-4e07-9351-ba9f4ce96737" providerId="ADAL" clId="{BE80FE12-4646-4FA4-A284-ABB4D2A3A409}" dt="2024-03-19T10:46:56.948" v="1310" actId="1076"/>
          <ac:spMkLst>
            <pc:docMk/>
            <pc:sldMk cId="2767448738" sldId="354"/>
            <ac:spMk id="101" creationId="{A0557A97-F1EB-4D23-3997-B144FE58DB25}"/>
          </ac:spMkLst>
        </pc:spChg>
        <pc:spChg chg="add mod">
          <ac:chgData name="Wang, Han" userId="9a056b73-0254-4e07-9351-ba9f4ce96737" providerId="ADAL" clId="{BE80FE12-4646-4FA4-A284-ABB4D2A3A409}" dt="2024-03-19T10:46:56.948" v="1310" actId="1076"/>
          <ac:spMkLst>
            <pc:docMk/>
            <pc:sldMk cId="2767448738" sldId="354"/>
            <ac:spMk id="106" creationId="{262A0F3A-680F-7312-F035-CA931B61AF09}"/>
          </ac:spMkLst>
        </pc:spChg>
        <pc:spChg chg="add mod">
          <ac:chgData name="Wang, Han" userId="9a056b73-0254-4e07-9351-ba9f4ce96737" providerId="ADAL" clId="{BE80FE12-4646-4FA4-A284-ABB4D2A3A409}" dt="2024-03-19T10:46:56.948" v="1310" actId="1076"/>
          <ac:spMkLst>
            <pc:docMk/>
            <pc:sldMk cId="2767448738" sldId="354"/>
            <ac:spMk id="107" creationId="{819AB1B7-4B0F-C917-2FEA-5A2118F2E24C}"/>
          </ac:spMkLst>
        </pc:spChg>
        <pc:spChg chg="add mod">
          <ac:chgData name="Wang, Han" userId="9a056b73-0254-4e07-9351-ba9f4ce96737" providerId="ADAL" clId="{BE80FE12-4646-4FA4-A284-ABB4D2A3A409}" dt="2024-03-19T10:46:56.948" v="1310" actId="1076"/>
          <ac:spMkLst>
            <pc:docMk/>
            <pc:sldMk cId="2767448738" sldId="354"/>
            <ac:spMk id="108" creationId="{45E57453-5AAC-3F3B-770E-72B8534F971E}"/>
          </ac:spMkLst>
        </pc:spChg>
        <pc:spChg chg="add mod">
          <ac:chgData name="Wang, Han" userId="9a056b73-0254-4e07-9351-ba9f4ce96737" providerId="ADAL" clId="{BE80FE12-4646-4FA4-A284-ABB4D2A3A409}" dt="2024-03-19T10:46:56.948" v="1310" actId="1076"/>
          <ac:spMkLst>
            <pc:docMk/>
            <pc:sldMk cId="2767448738" sldId="354"/>
            <ac:spMk id="109" creationId="{8F7E98DC-254A-3C9F-E106-C75B57358EB9}"/>
          </ac:spMkLst>
        </pc:spChg>
        <pc:spChg chg="add del mod">
          <ac:chgData name="Wang, Han" userId="9a056b73-0254-4e07-9351-ba9f4ce96737" providerId="ADAL" clId="{BE80FE12-4646-4FA4-A284-ABB4D2A3A409}" dt="2024-03-19T09:57:26.629" v="1161" actId="478"/>
          <ac:spMkLst>
            <pc:docMk/>
            <pc:sldMk cId="2767448738" sldId="354"/>
            <ac:spMk id="110" creationId="{3D79A138-004C-8189-C5F8-2591E0879631}"/>
          </ac:spMkLst>
        </pc:spChg>
        <pc:spChg chg="add del mod">
          <ac:chgData name="Wang, Han" userId="9a056b73-0254-4e07-9351-ba9f4ce96737" providerId="ADAL" clId="{BE80FE12-4646-4FA4-A284-ABB4D2A3A409}" dt="2024-03-19T10:03:01.704" v="1188" actId="478"/>
          <ac:spMkLst>
            <pc:docMk/>
            <pc:sldMk cId="2767448738" sldId="354"/>
            <ac:spMk id="111" creationId="{FA844734-3638-00B9-7B89-4C4FF3C72F46}"/>
          </ac:spMkLst>
        </pc:spChg>
        <pc:spChg chg="add del">
          <ac:chgData name="Wang, Han" userId="9a056b73-0254-4e07-9351-ba9f4ce96737" providerId="ADAL" clId="{BE80FE12-4646-4FA4-A284-ABB4D2A3A409}" dt="2024-03-19T10:01:27.087" v="1174" actId="478"/>
          <ac:spMkLst>
            <pc:docMk/>
            <pc:sldMk cId="2767448738" sldId="354"/>
            <ac:spMk id="116" creationId="{2DB531A6-4BEF-F2A5-8294-37C0A35B057B}"/>
          </ac:spMkLst>
        </pc:spChg>
        <pc:spChg chg="add mod">
          <ac:chgData name="Wang, Han" userId="9a056b73-0254-4e07-9351-ba9f4ce96737" providerId="ADAL" clId="{BE80FE12-4646-4FA4-A284-ABB4D2A3A409}" dt="2024-03-19T10:02:40.023" v="1183" actId="164"/>
          <ac:spMkLst>
            <pc:docMk/>
            <pc:sldMk cId="2767448738" sldId="354"/>
            <ac:spMk id="117" creationId="{28A727D7-B6DA-02F3-7D9D-A20C6AD8A3E5}"/>
          </ac:spMkLst>
        </pc:spChg>
        <pc:spChg chg="mod">
          <ac:chgData name="Wang, Han" userId="9a056b73-0254-4e07-9351-ba9f4ce96737" providerId="ADAL" clId="{BE80FE12-4646-4FA4-A284-ABB4D2A3A409}" dt="2024-03-19T10:02:55.983" v="1186" actId="571"/>
          <ac:spMkLst>
            <pc:docMk/>
            <pc:sldMk cId="2767448738" sldId="354"/>
            <ac:spMk id="123" creationId="{08093E70-DE25-1AF4-4147-2311744AA5F5}"/>
          </ac:spMkLst>
        </pc:spChg>
        <pc:spChg chg="mod">
          <ac:chgData name="Wang, Han" userId="9a056b73-0254-4e07-9351-ba9f4ce96737" providerId="ADAL" clId="{BE80FE12-4646-4FA4-A284-ABB4D2A3A409}" dt="2024-03-19T10:02:58.607" v="1187" actId="571"/>
          <ac:spMkLst>
            <pc:docMk/>
            <pc:sldMk cId="2767448738" sldId="354"/>
            <ac:spMk id="127" creationId="{48F215CC-4A42-D7F1-ABA8-72FBBEE7D06B}"/>
          </ac:spMkLst>
        </pc:spChg>
        <pc:spChg chg="mod">
          <ac:chgData name="Wang, Han" userId="9a056b73-0254-4e07-9351-ba9f4ce96737" providerId="ADAL" clId="{BE80FE12-4646-4FA4-A284-ABB4D2A3A409}" dt="2024-03-19T10:03:55.264" v="1195" actId="571"/>
          <ac:spMkLst>
            <pc:docMk/>
            <pc:sldMk cId="2767448738" sldId="354"/>
            <ac:spMk id="131" creationId="{99900A8E-2EA9-C1CB-AB1B-27CD66C120C3}"/>
          </ac:spMkLst>
        </pc:spChg>
        <pc:spChg chg="add mod">
          <ac:chgData name="Wang, Han" userId="9a056b73-0254-4e07-9351-ba9f4ce96737" providerId="ADAL" clId="{BE80FE12-4646-4FA4-A284-ABB4D2A3A409}" dt="2024-03-19T10:45:23.563" v="1290" actId="1076"/>
          <ac:spMkLst>
            <pc:docMk/>
            <pc:sldMk cId="2767448738" sldId="354"/>
            <ac:spMk id="144" creationId="{40DC4702-E8F9-D01F-A4CF-03B27356F08C}"/>
          </ac:spMkLst>
        </pc:spChg>
        <pc:spChg chg="mod">
          <ac:chgData name="Wang, Han" userId="9a056b73-0254-4e07-9351-ba9f4ce96737" providerId="ADAL" clId="{BE80FE12-4646-4FA4-A284-ABB4D2A3A409}" dt="2024-03-19T10:13:51.485" v="1229" actId="571"/>
          <ac:spMkLst>
            <pc:docMk/>
            <pc:sldMk cId="2767448738" sldId="354"/>
            <ac:spMk id="147" creationId="{C117C8B6-86BA-816F-4357-DF387C74417A}"/>
          </ac:spMkLst>
        </pc:spChg>
        <pc:spChg chg="mod">
          <ac:chgData name="Wang, Han" userId="9a056b73-0254-4e07-9351-ba9f4ce96737" providerId="ADAL" clId="{BE80FE12-4646-4FA4-A284-ABB4D2A3A409}" dt="2024-03-19T10:13:51.485" v="1229" actId="571"/>
          <ac:spMkLst>
            <pc:docMk/>
            <pc:sldMk cId="2767448738" sldId="354"/>
            <ac:spMk id="151" creationId="{A524387C-8B24-CC5A-0F76-9342F7ADF40E}"/>
          </ac:spMkLst>
        </pc:spChg>
        <pc:spChg chg="mod">
          <ac:chgData name="Wang, Han" userId="9a056b73-0254-4e07-9351-ba9f4ce96737" providerId="ADAL" clId="{BE80FE12-4646-4FA4-A284-ABB4D2A3A409}" dt="2024-03-19T10:13:51.485" v="1229" actId="571"/>
          <ac:spMkLst>
            <pc:docMk/>
            <pc:sldMk cId="2767448738" sldId="354"/>
            <ac:spMk id="155" creationId="{1BFA2922-1E71-E0A2-38E2-010263D9167E}"/>
          </ac:spMkLst>
        </pc:spChg>
        <pc:spChg chg="mod">
          <ac:chgData name="Wang, Han" userId="9a056b73-0254-4e07-9351-ba9f4ce96737" providerId="ADAL" clId="{BE80FE12-4646-4FA4-A284-ABB4D2A3A409}" dt="2024-03-19T10:13:51.485" v="1229" actId="571"/>
          <ac:spMkLst>
            <pc:docMk/>
            <pc:sldMk cId="2767448738" sldId="354"/>
            <ac:spMk id="159" creationId="{1133C9FE-43CD-9877-3FEA-8A9A9DD5B773}"/>
          </ac:spMkLst>
        </pc:spChg>
        <pc:spChg chg="add del mod">
          <ac:chgData name="Wang, Han" userId="9a056b73-0254-4e07-9351-ba9f4ce96737" providerId="ADAL" clId="{BE80FE12-4646-4FA4-A284-ABB4D2A3A409}" dt="2024-03-19T10:13:53.727" v="1230" actId="478"/>
          <ac:spMkLst>
            <pc:docMk/>
            <pc:sldMk cId="2767448738" sldId="354"/>
            <ac:spMk id="161" creationId="{B84422F6-3303-575E-2B6F-7FEE145643A0}"/>
          </ac:spMkLst>
        </pc:spChg>
        <pc:spChg chg="add del mod">
          <ac:chgData name="Wang, Han" userId="9a056b73-0254-4e07-9351-ba9f4ce96737" providerId="ADAL" clId="{BE80FE12-4646-4FA4-A284-ABB4D2A3A409}" dt="2024-03-19T10:40:20.041" v="1233" actId="478"/>
          <ac:spMkLst>
            <pc:docMk/>
            <pc:sldMk cId="2767448738" sldId="354"/>
            <ac:spMk id="162" creationId="{3B5BDD2D-C286-7A46-8ADF-D0406948DCE0}"/>
          </ac:spMkLst>
        </pc:spChg>
        <pc:spChg chg="add mod ord">
          <ac:chgData name="Wang, Han" userId="9a056b73-0254-4e07-9351-ba9f4ce96737" providerId="ADAL" clId="{BE80FE12-4646-4FA4-A284-ABB4D2A3A409}" dt="2024-03-19T10:45:14.996" v="1289" actId="1076"/>
          <ac:spMkLst>
            <pc:docMk/>
            <pc:sldMk cId="2767448738" sldId="354"/>
            <ac:spMk id="163" creationId="{5E6F4BBF-F222-4DBC-45D0-7EA26E5FA5AC}"/>
          </ac:spMkLst>
        </pc:spChg>
        <pc:spChg chg="add del mod">
          <ac:chgData name="Wang, Han" userId="9a056b73-0254-4e07-9351-ba9f4ce96737" providerId="ADAL" clId="{BE80FE12-4646-4FA4-A284-ABB4D2A3A409}" dt="2024-03-19T10:41:38.512" v="1248" actId="478"/>
          <ac:spMkLst>
            <pc:docMk/>
            <pc:sldMk cId="2767448738" sldId="354"/>
            <ac:spMk id="164" creationId="{44ED6184-6AF8-AD15-42DF-CDB0672DFA78}"/>
          </ac:spMkLst>
        </pc:spChg>
        <pc:spChg chg="add del mod">
          <ac:chgData name="Wang, Han" userId="9a056b73-0254-4e07-9351-ba9f4ce96737" providerId="ADAL" clId="{BE80FE12-4646-4FA4-A284-ABB4D2A3A409}" dt="2024-03-19T10:41:37.620" v="1247" actId="478"/>
          <ac:spMkLst>
            <pc:docMk/>
            <pc:sldMk cId="2767448738" sldId="354"/>
            <ac:spMk id="165" creationId="{4ED1F7E4-F965-8786-34BC-6E44A45F31C9}"/>
          </ac:spMkLst>
        </pc:spChg>
        <pc:spChg chg="add mod ord">
          <ac:chgData name="Wang, Han" userId="9a056b73-0254-4e07-9351-ba9f4ce96737" providerId="ADAL" clId="{BE80FE12-4646-4FA4-A284-ABB4D2A3A409}" dt="2024-03-19T10:45:14.996" v="1289" actId="1076"/>
          <ac:spMkLst>
            <pc:docMk/>
            <pc:sldMk cId="2767448738" sldId="354"/>
            <ac:spMk id="166" creationId="{5BAAB1E0-7FFE-E039-FDD7-E662698BCFDD}"/>
          </ac:spMkLst>
        </pc:spChg>
        <pc:spChg chg="add mod ord">
          <ac:chgData name="Wang, Han" userId="9a056b73-0254-4e07-9351-ba9f4ce96737" providerId="ADAL" clId="{BE80FE12-4646-4FA4-A284-ABB4D2A3A409}" dt="2024-03-19T10:45:14.996" v="1289" actId="1076"/>
          <ac:spMkLst>
            <pc:docMk/>
            <pc:sldMk cId="2767448738" sldId="354"/>
            <ac:spMk id="167" creationId="{531ED4BF-29CB-E051-C0DE-341DA171F626}"/>
          </ac:spMkLst>
        </pc:spChg>
        <pc:spChg chg="add mod ord">
          <ac:chgData name="Wang, Han" userId="9a056b73-0254-4e07-9351-ba9f4ce96737" providerId="ADAL" clId="{BE80FE12-4646-4FA4-A284-ABB4D2A3A409}" dt="2024-03-19T10:45:14.996" v="1289" actId="1076"/>
          <ac:spMkLst>
            <pc:docMk/>
            <pc:sldMk cId="2767448738" sldId="354"/>
            <ac:spMk id="168" creationId="{80A10472-4D3F-4908-57D3-8F4B121DB2F4}"/>
          </ac:spMkLst>
        </pc:spChg>
        <pc:spChg chg="add mod">
          <ac:chgData name="Wang, Han" userId="9a056b73-0254-4e07-9351-ba9f4ce96737" providerId="ADAL" clId="{BE80FE12-4646-4FA4-A284-ABB4D2A3A409}" dt="2024-03-19T10:45:14.996" v="1289" actId="1076"/>
          <ac:spMkLst>
            <pc:docMk/>
            <pc:sldMk cId="2767448738" sldId="354"/>
            <ac:spMk id="171" creationId="{35B1FB15-4360-AD32-BAB0-5CBF7E23C645}"/>
          </ac:spMkLst>
        </pc:spChg>
        <pc:spChg chg="add del">
          <ac:chgData name="Wang, Han" userId="9a056b73-0254-4e07-9351-ba9f4ce96737" providerId="ADAL" clId="{BE80FE12-4646-4FA4-A284-ABB4D2A3A409}" dt="2024-03-19T10:45:33.548" v="1292" actId="478"/>
          <ac:spMkLst>
            <pc:docMk/>
            <pc:sldMk cId="2767448738" sldId="354"/>
            <ac:spMk id="172" creationId="{EC2EB065-69AD-7EA5-AFA2-4BE65EF5A8E6}"/>
          </ac:spMkLst>
        </pc:spChg>
        <pc:spChg chg="add mod">
          <ac:chgData name="Wang, Han" userId="9a056b73-0254-4e07-9351-ba9f4ce96737" providerId="ADAL" clId="{BE80FE12-4646-4FA4-A284-ABB4D2A3A409}" dt="2024-03-19T10:45:56.721" v="1295" actId="14100"/>
          <ac:spMkLst>
            <pc:docMk/>
            <pc:sldMk cId="2767448738" sldId="354"/>
            <ac:spMk id="173" creationId="{45FAFFAD-7FB0-F52F-2BA8-F7001F91AAF2}"/>
          </ac:spMkLst>
        </pc:spChg>
        <pc:spChg chg="add mod">
          <ac:chgData name="Wang, Han" userId="9a056b73-0254-4e07-9351-ba9f4ce96737" providerId="ADAL" clId="{BE80FE12-4646-4FA4-A284-ABB4D2A3A409}" dt="2024-03-19T13:19:39.364" v="1876" actId="1076"/>
          <ac:spMkLst>
            <pc:docMk/>
            <pc:sldMk cId="2767448738" sldId="354"/>
            <ac:spMk id="174" creationId="{D1D46D5D-DDE4-DD0E-1840-F400BC09854A}"/>
          </ac:spMkLst>
        </pc:spChg>
        <pc:spChg chg="add mod">
          <ac:chgData name="Wang, Han" userId="9a056b73-0254-4e07-9351-ba9f4ce96737" providerId="ADAL" clId="{BE80FE12-4646-4FA4-A284-ABB4D2A3A409}" dt="2024-03-19T13:19:39.364" v="1876" actId="1076"/>
          <ac:spMkLst>
            <pc:docMk/>
            <pc:sldMk cId="2767448738" sldId="354"/>
            <ac:spMk id="175" creationId="{4312DD09-D5A0-FCB6-AA23-F57534008809}"/>
          </ac:spMkLst>
        </pc:spChg>
        <pc:spChg chg="add mod">
          <ac:chgData name="Wang, Han" userId="9a056b73-0254-4e07-9351-ba9f4ce96737" providerId="ADAL" clId="{BE80FE12-4646-4FA4-A284-ABB4D2A3A409}" dt="2024-03-19T13:19:39.364" v="1876" actId="1076"/>
          <ac:spMkLst>
            <pc:docMk/>
            <pc:sldMk cId="2767448738" sldId="354"/>
            <ac:spMk id="176" creationId="{8D96078C-933E-59C3-09FB-677B4170E3D0}"/>
          </ac:spMkLst>
        </pc:spChg>
        <pc:spChg chg="add del mod">
          <ac:chgData name="Wang, Han" userId="9a056b73-0254-4e07-9351-ba9f4ce96737" providerId="ADAL" clId="{BE80FE12-4646-4FA4-A284-ABB4D2A3A409}" dt="2024-03-19T12:23:53.359" v="1438" actId="478"/>
          <ac:spMkLst>
            <pc:docMk/>
            <pc:sldMk cId="2767448738" sldId="354"/>
            <ac:spMk id="177" creationId="{388CE93E-9A62-8237-5F1A-672301E3BCF6}"/>
          </ac:spMkLst>
        </pc:spChg>
        <pc:spChg chg="add mod">
          <ac:chgData name="Wang, Han" userId="9a056b73-0254-4e07-9351-ba9f4ce96737" providerId="ADAL" clId="{BE80FE12-4646-4FA4-A284-ABB4D2A3A409}" dt="2024-03-19T13:19:39.364" v="1876" actId="1076"/>
          <ac:spMkLst>
            <pc:docMk/>
            <pc:sldMk cId="2767448738" sldId="354"/>
            <ac:spMk id="178" creationId="{ECBD4CF1-C095-8298-6BF0-864064588A66}"/>
          </ac:spMkLst>
        </pc:spChg>
        <pc:spChg chg="add mod">
          <ac:chgData name="Wang, Han" userId="9a056b73-0254-4e07-9351-ba9f4ce96737" providerId="ADAL" clId="{BE80FE12-4646-4FA4-A284-ABB4D2A3A409}" dt="2024-03-19T13:19:39.364" v="1876" actId="1076"/>
          <ac:spMkLst>
            <pc:docMk/>
            <pc:sldMk cId="2767448738" sldId="354"/>
            <ac:spMk id="179" creationId="{0A77D338-C925-C069-7428-685962C37DE3}"/>
          </ac:spMkLst>
        </pc:spChg>
        <pc:spChg chg="add mod">
          <ac:chgData name="Wang, Han" userId="9a056b73-0254-4e07-9351-ba9f4ce96737" providerId="ADAL" clId="{BE80FE12-4646-4FA4-A284-ABB4D2A3A409}" dt="2024-03-19T13:19:39.364" v="1876" actId="1076"/>
          <ac:spMkLst>
            <pc:docMk/>
            <pc:sldMk cId="2767448738" sldId="354"/>
            <ac:spMk id="180" creationId="{2A99B3C1-68C8-0010-53FD-5B81FCBC9A3C}"/>
          </ac:spMkLst>
        </pc:spChg>
        <pc:spChg chg="add mod">
          <ac:chgData name="Wang, Han" userId="9a056b73-0254-4e07-9351-ba9f4ce96737" providerId="ADAL" clId="{BE80FE12-4646-4FA4-A284-ABB4D2A3A409}" dt="2024-03-19T13:19:39.364" v="1876" actId="1076"/>
          <ac:spMkLst>
            <pc:docMk/>
            <pc:sldMk cId="2767448738" sldId="354"/>
            <ac:spMk id="181" creationId="{1F3ACCC5-90D8-25B2-DEA0-7190C164279F}"/>
          </ac:spMkLst>
        </pc:spChg>
        <pc:spChg chg="add mod">
          <ac:chgData name="Wang, Han" userId="9a056b73-0254-4e07-9351-ba9f4ce96737" providerId="ADAL" clId="{BE80FE12-4646-4FA4-A284-ABB4D2A3A409}" dt="2024-03-19T13:19:39.364" v="1876" actId="1076"/>
          <ac:spMkLst>
            <pc:docMk/>
            <pc:sldMk cId="2767448738" sldId="354"/>
            <ac:spMk id="182" creationId="{995F9ECF-11FC-CA13-1F07-EA6A9FE1E0F0}"/>
          </ac:spMkLst>
        </pc:spChg>
        <pc:spChg chg="add mod">
          <ac:chgData name="Wang, Han" userId="9a056b73-0254-4e07-9351-ba9f4ce96737" providerId="ADAL" clId="{BE80FE12-4646-4FA4-A284-ABB4D2A3A409}" dt="2024-03-19T13:19:39.364" v="1876" actId="1076"/>
          <ac:spMkLst>
            <pc:docMk/>
            <pc:sldMk cId="2767448738" sldId="354"/>
            <ac:spMk id="183" creationId="{B7CECB8B-34E5-117E-3A5D-351A0C067726}"/>
          </ac:spMkLst>
        </pc:spChg>
        <pc:grpChg chg="add mod">
          <ac:chgData name="Wang, Han" userId="9a056b73-0254-4e07-9351-ba9f4ce96737" providerId="ADAL" clId="{BE80FE12-4646-4FA4-A284-ABB4D2A3A409}" dt="2024-03-19T09:56:26.020" v="1157" actId="1076"/>
          <ac:grpSpMkLst>
            <pc:docMk/>
            <pc:sldMk cId="2767448738" sldId="354"/>
            <ac:grpSpMk id="10" creationId="{EF05B5DF-9592-6D3D-D015-06168E1C8392}"/>
          </ac:grpSpMkLst>
        </pc:grpChg>
        <pc:grpChg chg="add mod">
          <ac:chgData name="Wang, Han" userId="9a056b73-0254-4e07-9351-ba9f4ce96737" providerId="ADAL" clId="{BE80FE12-4646-4FA4-A284-ABB4D2A3A409}" dt="2024-03-19T09:56:26.020" v="1157" actId="1076"/>
          <ac:grpSpMkLst>
            <pc:docMk/>
            <pc:sldMk cId="2767448738" sldId="354"/>
            <ac:grpSpMk id="20" creationId="{B2B39E7B-7103-287D-542E-B72F3A9183C3}"/>
          </ac:grpSpMkLst>
        </pc:grpChg>
        <pc:grpChg chg="add mod">
          <ac:chgData name="Wang, Han" userId="9a056b73-0254-4e07-9351-ba9f4ce96737" providerId="ADAL" clId="{BE80FE12-4646-4FA4-A284-ABB4D2A3A409}" dt="2024-03-19T09:56:26.020" v="1157" actId="1076"/>
          <ac:grpSpMkLst>
            <pc:docMk/>
            <pc:sldMk cId="2767448738" sldId="354"/>
            <ac:grpSpMk id="58" creationId="{414E1E97-B204-F30F-D0CD-19849541FB3C}"/>
          </ac:grpSpMkLst>
        </pc:grpChg>
        <pc:grpChg chg="add mod">
          <ac:chgData name="Wang, Han" userId="9a056b73-0254-4e07-9351-ba9f4ce96737" providerId="ADAL" clId="{BE80FE12-4646-4FA4-A284-ABB4D2A3A409}" dt="2024-03-19T10:45:23.563" v="1290" actId="1076"/>
          <ac:grpSpMkLst>
            <pc:docMk/>
            <pc:sldMk cId="2767448738" sldId="354"/>
            <ac:grpSpMk id="120" creationId="{326950C5-652F-3F5D-E719-08522F39967C}"/>
          </ac:grpSpMkLst>
        </pc:grpChg>
        <pc:grpChg chg="add mod">
          <ac:chgData name="Wang, Han" userId="9a056b73-0254-4e07-9351-ba9f4ce96737" providerId="ADAL" clId="{BE80FE12-4646-4FA4-A284-ABB4D2A3A409}" dt="2024-03-19T10:45:23.563" v="1290" actId="1076"/>
          <ac:grpSpMkLst>
            <pc:docMk/>
            <pc:sldMk cId="2767448738" sldId="354"/>
            <ac:grpSpMk id="121" creationId="{7A7272B8-A737-1546-D5BC-3BFD83FF0EC8}"/>
          </ac:grpSpMkLst>
        </pc:grpChg>
        <pc:grpChg chg="add mod">
          <ac:chgData name="Wang, Han" userId="9a056b73-0254-4e07-9351-ba9f4ce96737" providerId="ADAL" clId="{BE80FE12-4646-4FA4-A284-ABB4D2A3A409}" dt="2024-03-19T10:45:23.563" v="1290" actId="1076"/>
          <ac:grpSpMkLst>
            <pc:docMk/>
            <pc:sldMk cId="2767448738" sldId="354"/>
            <ac:grpSpMk id="125" creationId="{922EF061-5CCB-96A9-726F-7752EC6E80EB}"/>
          </ac:grpSpMkLst>
        </pc:grpChg>
        <pc:grpChg chg="add mod">
          <ac:chgData name="Wang, Han" userId="9a056b73-0254-4e07-9351-ba9f4ce96737" providerId="ADAL" clId="{BE80FE12-4646-4FA4-A284-ABB4D2A3A409}" dt="2024-03-19T10:45:23.563" v="1290" actId="1076"/>
          <ac:grpSpMkLst>
            <pc:docMk/>
            <pc:sldMk cId="2767448738" sldId="354"/>
            <ac:grpSpMk id="129" creationId="{9B5AF8E2-4417-16C3-7E26-98948BB86ECB}"/>
          </ac:grpSpMkLst>
        </pc:grpChg>
        <pc:grpChg chg="add del mod">
          <ac:chgData name="Wang, Han" userId="9a056b73-0254-4e07-9351-ba9f4ce96737" providerId="ADAL" clId="{BE80FE12-4646-4FA4-A284-ABB4D2A3A409}" dt="2024-03-19T10:13:53.727" v="1230" actId="478"/>
          <ac:grpSpMkLst>
            <pc:docMk/>
            <pc:sldMk cId="2767448738" sldId="354"/>
            <ac:grpSpMk id="145" creationId="{06381ADA-4892-06B6-359B-1115E74E0E08}"/>
          </ac:grpSpMkLst>
        </pc:grpChg>
        <pc:grpChg chg="add del mod">
          <ac:chgData name="Wang, Han" userId="9a056b73-0254-4e07-9351-ba9f4ce96737" providerId="ADAL" clId="{BE80FE12-4646-4FA4-A284-ABB4D2A3A409}" dt="2024-03-19T10:13:53.727" v="1230" actId="478"/>
          <ac:grpSpMkLst>
            <pc:docMk/>
            <pc:sldMk cId="2767448738" sldId="354"/>
            <ac:grpSpMk id="149" creationId="{1F13AFA5-C93C-19C8-A9E6-5FBE9732E064}"/>
          </ac:grpSpMkLst>
        </pc:grpChg>
        <pc:grpChg chg="add del mod">
          <ac:chgData name="Wang, Han" userId="9a056b73-0254-4e07-9351-ba9f4ce96737" providerId="ADAL" clId="{BE80FE12-4646-4FA4-A284-ABB4D2A3A409}" dt="2024-03-19T10:13:53.727" v="1230" actId="478"/>
          <ac:grpSpMkLst>
            <pc:docMk/>
            <pc:sldMk cId="2767448738" sldId="354"/>
            <ac:grpSpMk id="153" creationId="{C1748B30-B24E-84F6-4731-82F1A0CFB208}"/>
          </ac:grpSpMkLst>
        </pc:grpChg>
        <pc:grpChg chg="add del mod">
          <ac:chgData name="Wang, Han" userId="9a056b73-0254-4e07-9351-ba9f4ce96737" providerId="ADAL" clId="{BE80FE12-4646-4FA4-A284-ABB4D2A3A409}" dt="2024-03-19T10:13:53.727" v="1230" actId="478"/>
          <ac:grpSpMkLst>
            <pc:docMk/>
            <pc:sldMk cId="2767448738" sldId="354"/>
            <ac:grpSpMk id="157" creationId="{85D6A678-5670-C8A4-0586-95AF09FDBC56}"/>
          </ac:grpSpMkLst>
        </pc:grpChg>
        <pc:cxnChg chg="add del mod">
          <ac:chgData name="Wang, Han" userId="9a056b73-0254-4e07-9351-ba9f4ce96737" providerId="ADAL" clId="{BE80FE12-4646-4FA4-A284-ABB4D2A3A409}" dt="2024-03-18T16:28:14.518" v="739" actId="478"/>
          <ac:cxnSpMkLst>
            <pc:docMk/>
            <pc:sldMk cId="2767448738" sldId="354"/>
            <ac:cxnSpMk id="25" creationId="{6A297F54-D3D5-F79D-FFF3-309D0B7CE42B}"/>
          </ac:cxnSpMkLst>
        </pc:cxnChg>
        <pc:cxnChg chg="add del mod">
          <ac:chgData name="Wang, Han" userId="9a056b73-0254-4e07-9351-ba9f4ce96737" providerId="ADAL" clId="{BE80FE12-4646-4FA4-A284-ABB4D2A3A409}" dt="2024-03-18T16:28:09.028" v="736" actId="478"/>
          <ac:cxnSpMkLst>
            <pc:docMk/>
            <pc:sldMk cId="2767448738" sldId="354"/>
            <ac:cxnSpMk id="26" creationId="{60B615E5-0A4A-A203-F4BF-1ECDE54D8D08}"/>
          </ac:cxnSpMkLst>
        </pc:cxnChg>
        <pc:cxnChg chg="add del mod">
          <ac:chgData name="Wang, Han" userId="9a056b73-0254-4e07-9351-ba9f4ce96737" providerId="ADAL" clId="{BE80FE12-4646-4FA4-A284-ABB4D2A3A409}" dt="2024-03-18T16:28:07.262" v="735" actId="478"/>
          <ac:cxnSpMkLst>
            <pc:docMk/>
            <pc:sldMk cId="2767448738" sldId="354"/>
            <ac:cxnSpMk id="27" creationId="{B1919F54-BF3F-3661-5396-ED89F1A69862}"/>
          </ac:cxnSpMkLst>
        </pc:cxnChg>
        <pc:cxnChg chg="add del mod">
          <ac:chgData name="Wang, Han" userId="9a056b73-0254-4e07-9351-ba9f4ce96737" providerId="ADAL" clId="{BE80FE12-4646-4FA4-A284-ABB4D2A3A409}" dt="2024-03-19T09:20:53.489" v="807" actId="478"/>
          <ac:cxnSpMkLst>
            <pc:docMk/>
            <pc:sldMk cId="2767448738" sldId="354"/>
            <ac:cxnSpMk id="28" creationId="{F3C19094-FE1A-28E4-3020-CB361AD62A15}"/>
          </ac:cxnSpMkLst>
        </pc:cxnChg>
        <pc:cxnChg chg="add del mod">
          <ac:chgData name="Wang, Han" userId="9a056b73-0254-4e07-9351-ba9f4ce96737" providerId="ADAL" clId="{BE80FE12-4646-4FA4-A284-ABB4D2A3A409}" dt="2024-03-19T09:20:55.385" v="808" actId="478"/>
          <ac:cxnSpMkLst>
            <pc:docMk/>
            <pc:sldMk cId="2767448738" sldId="354"/>
            <ac:cxnSpMk id="29" creationId="{51B54587-B7B6-C0E0-B9C7-232D4B670BC0}"/>
          </ac:cxnSpMkLst>
        </pc:cxnChg>
        <pc:cxnChg chg="add mod">
          <ac:chgData name="Wang, Han" userId="9a056b73-0254-4e07-9351-ba9f4ce96737" providerId="ADAL" clId="{BE80FE12-4646-4FA4-A284-ABB4D2A3A409}" dt="2024-03-19T09:56:26.020" v="1157" actId="1076"/>
          <ac:cxnSpMkLst>
            <pc:docMk/>
            <pc:sldMk cId="2767448738" sldId="354"/>
            <ac:cxnSpMk id="57" creationId="{ED19BA68-7E80-395E-8FEE-F45C032A281C}"/>
          </ac:cxnSpMkLst>
        </pc:cxnChg>
        <pc:cxnChg chg="add del mod">
          <ac:chgData name="Wang, Han" userId="9a056b73-0254-4e07-9351-ba9f4ce96737" providerId="ADAL" clId="{BE80FE12-4646-4FA4-A284-ABB4D2A3A409}" dt="2024-03-19T09:55:31.470" v="1154" actId="478"/>
          <ac:cxnSpMkLst>
            <pc:docMk/>
            <pc:sldMk cId="2767448738" sldId="354"/>
            <ac:cxnSpMk id="71" creationId="{EA0E5FFC-04F6-EC2B-4F2A-2F75C415F019}"/>
          </ac:cxnSpMkLst>
        </pc:cxnChg>
        <pc:cxnChg chg="add del mod">
          <ac:chgData name="Wang, Han" userId="9a056b73-0254-4e07-9351-ba9f4ce96737" providerId="ADAL" clId="{BE80FE12-4646-4FA4-A284-ABB4D2A3A409}" dt="2024-03-19T09:37:32.853" v="1067" actId="478"/>
          <ac:cxnSpMkLst>
            <pc:docMk/>
            <pc:sldMk cId="2767448738" sldId="354"/>
            <ac:cxnSpMk id="73" creationId="{8C6855BB-47F9-5210-F255-9AC7D0A8B84A}"/>
          </ac:cxnSpMkLst>
        </pc:cxnChg>
        <pc:cxnChg chg="add del mod">
          <ac:chgData name="Wang, Han" userId="9a056b73-0254-4e07-9351-ba9f4ce96737" providerId="ADAL" clId="{BE80FE12-4646-4FA4-A284-ABB4D2A3A409}" dt="2024-03-19T09:55:31.470" v="1154" actId="478"/>
          <ac:cxnSpMkLst>
            <pc:docMk/>
            <pc:sldMk cId="2767448738" sldId="354"/>
            <ac:cxnSpMk id="77" creationId="{85C7C711-FE05-8A3F-793D-416B1DB54D1F}"/>
          </ac:cxnSpMkLst>
        </pc:cxnChg>
        <pc:cxnChg chg="add del mod">
          <ac:chgData name="Wang, Han" userId="9a056b73-0254-4e07-9351-ba9f4ce96737" providerId="ADAL" clId="{BE80FE12-4646-4FA4-A284-ABB4D2A3A409}" dt="2024-03-19T09:55:31.470" v="1154" actId="478"/>
          <ac:cxnSpMkLst>
            <pc:docMk/>
            <pc:sldMk cId="2767448738" sldId="354"/>
            <ac:cxnSpMk id="79" creationId="{FA0C0205-A2CA-C2D9-662B-51B9EE5F4DAF}"/>
          </ac:cxnSpMkLst>
        </pc:cxnChg>
        <pc:cxnChg chg="add del mod">
          <ac:chgData name="Wang, Han" userId="9a056b73-0254-4e07-9351-ba9f4ce96737" providerId="ADAL" clId="{BE80FE12-4646-4FA4-A284-ABB4D2A3A409}" dt="2024-03-19T09:55:31.470" v="1154" actId="478"/>
          <ac:cxnSpMkLst>
            <pc:docMk/>
            <pc:sldMk cId="2767448738" sldId="354"/>
            <ac:cxnSpMk id="80" creationId="{6FD2ED66-405A-9F9E-F826-5F1549D3D08C}"/>
          </ac:cxnSpMkLst>
        </pc:cxnChg>
        <pc:cxnChg chg="add del mod">
          <ac:chgData name="Wang, Han" userId="9a056b73-0254-4e07-9351-ba9f4ce96737" providerId="ADAL" clId="{BE80FE12-4646-4FA4-A284-ABB4D2A3A409}" dt="2024-03-19T09:55:31.470" v="1154" actId="478"/>
          <ac:cxnSpMkLst>
            <pc:docMk/>
            <pc:sldMk cId="2767448738" sldId="354"/>
            <ac:cxnSpMk id="82" creationId="{D65761B8-61BE-32A2-8DBE-A4D04BE7E45D}"/>
          </ac:cxnSpMkLst>
        </pc:cxnChg>
        <pc:cxnChg chg="add del mod">
          <ac:chgData name="Wang, Han" userId="9a056b73-0254-4e07-9351-ba9f4ce96737" providerId="ADAL" clId="{BE80FE12-4646-4FA4-A284-ABB4D2A3A409}" dt="2024-03-19T09:55:33.753" v="1155" actId="478"/>
          <ac:cxnSpMkLst>
            <pc:docMk/>
            <pc:sldMk cId="2767448738" sldId="354"/>
            <ac:cxnSpMk id="84" creationId="{CF7C6E10-1003-30D9-5C83-A13101B49241}"/>
          </ac:cxnSpMkLst>
        </pc:cxnChg>
        <pc:cxnChg chg="add del mod">
          <ac:chgData name="Wang, Han" userId="9a056b73-0254-4e07-9351-ba9f4ce96737" providerId="ADAL" clId="{BE80FE12-4646-4FA4-A284-ABB4D2A3A409}" dt="2024-03-19T09:55:31.470" v="1154" actId="478"/>
          <ac:cxnSpMkLst>
            <pc:docMk/>
            <pc:sldMk cId="2767448738" sldId="354"/>
            <ac:cxnSpMk id="89" creationId="{07C34B9A-9D65-AE4D-6139-AAFB01A3A0EF}"/>
          </ac:cxnSpMkLst>
        </pc:cxnChg>
        <pc:cxnChg chg="add del mod">
          <ac:chgData name="Wang, Han" userId="9a056b73-0254-4e07-9351-ba9f4ce96737" providerId="ADAL" clId="{BE80FE12-4646-4FA4-A284-ABB4D2A3A409}" dt="2024-03-19T10:46:11.216" v="1296" actId="478"/>
          <ac:cxnSpMkLst>
            <pc:docMk/>
            <pc:sldMk cId="2767448738" sldId="354"/>
            <ac:cxnSpMk id="102" creationId="{CC9B5B3D-F6C2-3AC7-B315-CCFC20192390}"/>
          </ac:cxnSpMkLst>
        </pc:cxnChg>
        <pc:cxnChg chg="add mod">
          <ac:chgData name="Wang, Han" userId="9a056b73-0254-4e07-9351-ba9f4ce96737" providerId="ADAL" clId="{BE80FE12-4646-4FA4-A284-ABB4D2A3A409}" dt="2024-03-19T10:46:56.948" v="1310" actId="1076"/>
          <ac:cxnSpMkLst>
            <pc:docMk/>
            <pc:sldMk cId="2767448738" sldId="354"/>
            <ac:cxnSpMk id="103" creationId="{CC8392A2-CE14-A8A5-90E1-375DCE40C5BC}"/>
          </ac:cxnSpMkLst>
        </pc:cxnChg>
        <pc:cxnChg chg="add mod">
          <ac:chgData name="Wang, Han" userId="9a056b73-0254-4e07-9351-ba9f4ce96737" providerId="ADAL" clId="{BE80FE12-4646-4FA4-A284-ABB4D2A3A409}" dt="2024-03-19T10:46:56.948" v="1310" actId="1076"/>
          <ac:cxnSpMkLst>
            <pc:docMk/>
            <pc:sldMk cId="2767448738" sldId="354"/>
            <ac:cxnSpMk id="104" creationId="{5AC3DD52-8546-25DA-044C-489DF99FE656}"/>
          </ac:cxnSpMkLst>
        </pc:cxnChg>
        <pc:cxnChg chg="add mod">
          <ac:chgData name="Wang, Han" userId="9a056b73-0254-4e07-9351-ba9f4ce96737" providerId="ADAL" clId="{BE80FE12-4646-4FA4-A284-ABB4D2A3A409}" dt="2024-03-19T10:46:56.948" v="1310" actId="1076"/>
          <ac:cxnSpMkLst>
            <pc:docMk/>
            <pc:sldMk cId="2767448738" sldId="354"/>
            <ac:cxnSpMk id="105" creationId="{606FD5C7-B864-13F8-234C-8723E03A03D8}"/>
          </ac:cxnSpMkLst>
        </pc:cxnChg>
        <pc:cxnChg chg="add mod">
          <ac:chgData name="Wang, Han" userId="9a056b73-0254-4e07-9351-ba9f4ce96737" providerId="ADAL" clId="{BE80FE12-4646-4FA4-A284-ABB4D2A3A409}" dt="2024-03-19T10:05:03.839" v="1208" actId="14100"/>
          <ac:cxnSpMkLst>
            <pc:docMk/>
            <pc:sldMk cId="2767448738" sldId="354"/>
            <ac:cxnSpMk id="113" creationId="{2638A332-9093-14E4-281C-00342ADECEF4}"/>
          </ac:cxnSpMkLst>
        </pc:cxnChg>
        <pc:cxnChg chg="add mod">
          <ac:chgData name="Wang, Han" userId="9a056b73-0254-4e07-9351-ba9f4ce96737" providerId="ADAL" clId="{BE80FE12-4646-4FA4-A284-ABB4D2A3A409}" dt="2024-03-19T10:04:13.217" v="1198" actId="14100"/>
          <ac:cxnSpMkLst>
            <pc:docMk/>
            <pc:sldMk cId="2767448738" sldId="354"/>
            <ac:cxnSpMk id="119" creationId="{9AED67D8-107B-37C9-3D86-47B45F0D3B1A}"/>
          </ac:cxnSpMkLst>
        </pc:cxnChg>
        <pc:cxnChg chg="mod">
          <ac:chgData name="Wang, Han" userId="9a056b73-0254-4e07-9351-ba9f4ce96737" providerId="ADAL" clId="{BE80FE12-4646-4FA4-A284-ABB4D2A3A409}" dt="2024-03-19T10:05:12.142" v="1209" actId="14100"/>
          <ac:cxnSpMkLst>
            <pc:docMk/>
            <pc:sldMk cId="2767448738" sldId="354"/>
            <ac:cxnSpMk id="122" creationId="{2C888491-8414-2669-85D6-D1A8C27647F2}"/>
          </ac:cxnSpMkLst>
        </pc:cxnChg>
        <pc:cxnChg chg="mod">
          <ac:chgData name="Wang, Han" userId="9a056b73-0254-4e07-9351-ba9f4ce96737" providerId="ADAL" clId="{BE80FE12-4646-4FA4-A284-ABB4D2A3A409}" dt="2024-03-19T10:04:41.487" v="1203" actId="14100"/>
          <ac:cxnSpMkLst>
            <pc:docMk/>
            <pc:sldMk cId="2767448738" sldId="354"/>
            <ac:cxnSpMk id="124" creationId="{9F20E7F1-F61B-ADFA-7A0B-80AFC01F42D8}"/>
          </ac:cxnSpMkLst>
        </pc:cxnChg>
        <pc:cxnChg chg="mod">
          <ac:chgData name="Wang, Han" userId="9a056b73-0254-4e07-9351-ba9f4ce96737" providerId="ADAL" clId="{BE80FE12-4646-4FA4-A284-ABB4D2A3A409}" dt="2024-03-19T10:05:22.754" v="1210" actId="14100"/>
          <ac:cxnSpMkLst>
            <pc:docMk/>
            <pc:sldMk cId="2767448738" sldId="354"/>
            <ac:cxnSpMk id="126" creationId="{5F8A394B-026A-31CC-7EA8-C29B34671AC8}"/>
          </ac:cxnSpMkLst>
        </pc:cxnChg>
        <pc:cxnChg chg="mod">
          <ac:chgData name="Wang, Han" userId="9a056b73-0254-4e07-9351-ba9f4ce96737" providerId="ADAL" clId="{BE80FE12-4646-4FA4-A284-ABB4D2A3A409}" dt="2024-03-19T10:04:19.641" v="1199" actId="14100"/>
          <ac:cxnSpMkLst>
            <pc:docMk/>
            <pc:sldMk cId="2767448738" sldId="354"/>
            <ac:cxnSpMk id="128" creationId="{55230D35-CD03-819E-5BF3-523BD4DFCEB5}"/>
          </ac:cxnSpMkLst>
        </pc:cxnChg>
        <pc:cxnChg chg="mod">
          <ac:chgData name="Wang, Han" userId="9a056b73-0254-4e07-9351-ba9f4ce96737" providerId="ADAL" clId="{BE80FE12-4646-4FA4-A284-ABB4D2A3A409}" dt="2024-03-19T10:05:29.984" v="1211" actId="14100"/>
          <ac:cxnSpMkLst>
            <pc:docMk/>
            <pc:sldMk cId="2767448738" sldId="354"/>
            <ac:cxnSpMk id="130" creationId="{F5436A68-2497-C47D-7633-A94EA47856C4}"/>
          </ac:cxnSpMkLst>
        </pc:cxnChg>
        <pc:cxnChg chg="mod">
          <ac:chgData name="Wang, Han" userId="9a056b73-0254-4e07-9351-ba9f4ce96737" providerId="ADAL" clId="{BE80FE12-4646-4FA4-A284-ABB4D2A3A409}" dt="2024-03-19T10:04:50.547" v="1206" actId="14100"/>
          <ac:cxnSpMkLst>
            <pc:docMk/>
            <pc:sldMk cId="2767448738" sldId="354"/>
            <ac:cxnSpMk id="132" creationId="{7F847E4D-CC0B-82C5-82FD-6284B013B8FA}"/>
          </ac:cxnSpMkLst>
        </pc:cxnChg>
        <pc:cxnChg chg="add del mod">
          <ac:chgData name="Wang, Han" userId="9a056b73-0254-4e07-9351-ba9f4ce96737" providerId="ADAL" clId="{BE80FE12-4646-4FA4-A284-ABB4D2A3A409}" dt="2024-03-19T10:05:35.137" v="1212" actId="478"/>
          <ac:cxnSpMkLst>
            <pc:docMk/>
            <pc:sldMk cId="2767448738" sldId="354"/>
            <ac:cxnSpMk id="136" creationId="{CAFD1D4C-ED83-72AE-FDE2-AEB2E3CBEF36}"/>
          </ac:cxnSpMkLst>
        </pc:cxnChg>
        <pc:cxnChg chg="mod">
          <ac:chgData name="Wang, Han" userId="9a056b73-0254-4e07-9351-ba9f4ce96737" providerId="ADAL" clId="{BE80FE12-4646-4FA4-A284-ABB4D2A3A409}" dt="2024-03-19T10:13:51.485" v="1229" actId="571"/>
          <ac:cxnSpMkLst>
            <pc:docMk/>
            <pc:sldMk cId="2767448738" sldId="354"/>
            <ac:cxnSpMk id="146" creationId="{CDAAB6C2-FB6C-2C98-721B-7575574B7816}"/>
          </ac:cxnSpMkLst>
        </pc:cxnChg>
        <pc:cxnChg chg="mod">
          <ac:chgData name="Wang, Han" userId="9a056b73-0254-4e07-9351-ba9f4ce96737" providerId="ADAL" clId="{BE80FE12-4646-4FA4-A284-ABB4D2A3A409}" dt="2024-03-19T10:13:51.485" v="1229" actId="571"/>
          <ac:cxnSpMkLst>
            <pc:docMk/>
            <pc:sldMk cId="2767448738" sldId="354"/>
            <ac:cxnSpMk id="148" creationId="{1F0A2D00-BEEB-51F8-24C9-674E979048C3}"/>
          </ac:cxnSpMkLst>
        </pc:cxnChg>
        <pc:cxnChg chg="mod">
          <ac:chgData name="Wang, Han" userId="9a056b73-0254-4e07-9351-ba9f4ce96737" providerId="ADAL" clId="{BE80FE12-4646-4FA4-A284-ABB4D2A3A409}" dt="2024-03-19T10:13:51.485" v="1229" actId="571"/>
          <ac:cxnSpMkLst>
            <pc:docMk/>
            <pc:sldMk cId="2767448738" sldId="354"/>
            <ac:cxnSpMk id="150" creationId="{9E51ABE5-3C30-6005-E625-F6E0147BA4D0}"/>
          </ac:cxnSpMkLst>
        </pc:cxnChg>
        <pc:cxnChg chg="mod">
          <ac:chgData name="Wang, Han" userId="9a056b73-0254-4e07-9351-ba9f4ce96737" providerId="ADAL" clId="{BE80FE12-4646-4FA4-A284-ABB4D2A3A409}" dt="2024-03-19T10:13:51.485" v="1229" actId="571"/>
          <ac:cxnSpMkLst>
            <pc:docMk/>
            <pc:sldMk cId="2767448738" sldId="354"/>
            <ac:cxnSpMk id="152" creationId="{E77B3A43-FEFE-1BBF-2CC3-D3777B7022D0}"/>
          </ac:cxnSpMkLst>
        </pc:cxnChg>
        <pc:cxnChg chg="mod">
          <ac:chgData name="Wang, Han" userId="9a056b73-0254-4e07-9351-ba9f4ce96737" providerId="ADAL" clId="{BE80FE12-4646-4FA4-A284-ABB4D2A3A409}" dt="2024-03-19T10:13:51.485" v="1229" actId="571"/>
          <ac:cxnSpMkLst>
            <pc:docMk/>
            <pc:sldMk cId="2767448738" sldId="354"/>
            <ac:cxnSpMk id="154" creationId="{6B53E8B3-BAC8-34C5-550D-3EAECC192EED}"/>
          </ac:cxnSpMkLst>
        </pc:cxnChg>
        <pc:cxnChg chg="mod">
          <ac:chgData name="Wang, Han" userId="9a056b73-0254-4e07-9351-ba9f4ce96737" providerId="ADAL" clId="{BE80FE12-4646-4FA4-A284-ABB4D2A3A409}" dt="2024-03-19T10:13:51.485" v="1229" actId="571"/>
          <ac:cxnSpMkLst>
            <pc:docMk/>
            <pc:sldMk cId="2767448738" sldId="354"/>
            <ac:cxnSpMk id="156" creationId="{6BD0B8A6-248A-5C13-3602-E7DAD97B2ADC}"/>
          </ac:cxnSpMkLst>
        </pc:cxnChg>
        <pc:cxnChg chg="mod">
          <ac:chgData name="Wang, Han" userId="9a056b73-0254-4e07-9351-ba9f4ce96737" providerId="ADAL" clId="{BE80FE12-4646-4FA4-A284-ABB4D2A3A409}" dt="2024-03-19T10:13:51.485" v="1229" actId="571"/>
          <ac:cxnSpMkLst>
            <pc:docMk/>
            <pc:sldMk cId="2767448738" sldId="354"/>
            <ac:cxnSpMk id="158" creationId="{ADE733B1-8692-DF0E-FEFF-581BC0440D83}"/>
          </ac:cxnSpMkLst>
        </pc:cxnChg>
        <pc:cxnChg chg="mod">
          <ac:chgData name="Wang, Han" userId="9a056b73-0254-4e07-9351-ba9f4ce96737" providerId="ADAL" clId="{BE80FE12-4646-4FA4-A284-ABB4D2A3A409}" dt="2024-03-19T10:13:51.485" v="1229" actId="571"/>
          <ac:cxnSpMkLst>
            <pc:docMk/>
            <pc:sldMk cId="2767448738" sldId="354"/>
            <ac:cxnSpMk id="160" creationId="{ACD8689B-6B3E-9BCD-E88A-E8AECE4FBB23}"/>
          </ac:cxnSpMkLst>
        </pc:cxnChg>
        <pc:cxnChg chg="add mod">
          <ac:chgData name="Wang, Han" userId="9a056b73-0254-4e07-9351-ba9f4ce96737" providerId="ADAL" clId="{BE80FE12-4646-4FA4-A284-ABB4D2A3A409}" dt="2024-03-19T10:45:14.996" v="1289" actId="1076"/>
          <ac:cxnSpMkLst>
            <pc:docMk/>
            <pc:sldMk cId="2767448738" sldId="354"/>
            <ac:cxnSpMk id="170" creationId="{4BE9C35F-0D11-AB04-148E-2F91DAFC53DD}"/>
          </ac:cxnSpMkLst>
        </pc:cxnChg>
      </pc:sldChg>
      <pc:sldChg chg="addSp delSp modSp new mod">
        <pc:chgData name="Wang, Han" userId="9a056b73-0254-4e07-9351-ba9f4ce96737" providerId="ADAL" clId="{BE80FE12-4646-4FA4-A284-ABB4D2A3A409}" dt="2024-04-11T12:23:49.978" v="6553" actId="20577"/>
        <pc:sldMkLst>
          <pc:docMk/>
          <pc:sldMk cId="2979533540" sldId="355"/>
        </pc:sldMkLst>
        <pc:spChg chg="mod">
          <ac:chgData name="Wang, Han" userId="9a056b73-0254-4e07-9351-ba9f4ce96737" providerId="ADAL" clId="{BE80FE12-4646-4FA4-A284-ABB4D2A3A409}" dt="2024-03-19T13:44:04.329" v="2047" actId="20577"/>
          <ac:spMkLst>
            <pc:docMk/>
            <pc:sldMk cId="2979533540" sldId="355"/>
            <ac:spMk id="2" creationId="{43DCB310-5995-208F-D46F-61A8415B9518}"/>
          </ac:spMkLst>
        </pc:spChg>
        <pc:spChg chg="mod">
          <ac:chgData name="Wang, Han" userId="9a056b73-0254-4e07-9351-ba9f4ce96737" providerId="ADAL" clId="{BE80FE12-4646-4FA4-A284-ABB4D2A3A409}" dt="2024-03-19T13:46:14.784" v="2110" actId="20577"/>
          <ac:spMkLst>
            <pc:docMk/>
            <pc:sldMk cId="2979533540" sldId="355"/>
            <ac:spMk id="6" creationId="{46B62CCB-7C49-92AC-985C-A724E6B37314}"/>
          </ac:spMkLst>
        </pc:spChg>
        <pc:spChg chg="del">
          <ac:chgData name="Wang, Han" userId="9a056b73-0254-4e07-9351-ba9f4ce96737" providerId="ADAL" clId="{BE80FE12-4646-4FA4-A284-ABB4D2A3A409}" dt="2024-03-19T13:45:59.209" v="2074" actId="478"/>
          <ac:spMkLst>
            <pc:docMk/>
            <pc:sldMk cId="2979533540" sldId="355"/>
            <ac:spMk id="7" creationId="{63ED377C-C480-F505-D161-B0F5303EBCD2}"/>
          </ac:spMkLst>
        </pc:spChg>
        <pc:spChg chg="del">
          <ac:chgData name="Wang, Han" userId="9a056b73-0254-4e07-9351-ba9f4ce96737" providerId="ADAL" clId="{BE80FE12-4646-4FA4-A284-ABB4D2A3A409}" dt="2024-03-19T13:46:00.681" v="2075" actId="478"/>
          <ac:spMkLst>
            <pc:docMk/>
            <pc:sldMk cId="2979533540" sldId="355"/>
            <ac:spMk id="8" creationId="{2A1DB984-EEBC-204E-991E-885D8BCB80E5}"/>
          </ac:spMkLst>
        </pc:spChg>
        <pc:spChg chg="add mod">
          <ac:chgData name="Wang, Han" userId="9a056b73-0254-4e07-9351-ba9f4ce96737" providerId="ADAL" clId="{BE80FE12-4646-4FA4-A284-ABB4D2A3A409}" dt="2024-03-19T14:56:39.143" v="2871" actId="1076"/>
          <ac:spMkLst>
            <pc:docMk/>
            <pc:sldMk cId="2979533540" sldId="355"/>
            <ac:spMk id="9" creationId="{80868FF1-80B3-5E75-2D59-CF8D13E14E81}"/>
          </ac:spMkLst>
        </pc:spChg>
        <pc:spChg chg="add mod">
          <ac:chgData name="Wang, Han" userId="9a056b73-0254-4e07-9351-ba9f4ce96737" providerId="ADAL" clId="{BE80FE12-4646-4FA4-A284-ABB4D2A3A409}" dt="2024-03-19T14:54:53.368" v="2854" actId="1076"/>
          <ac:spMkLst>
            <pc:docMk/>
            <pc:sldMk cId="2979533540" sldId="355"/>
            <ac:spMk id="10" creationId="{679E91B9-9828-A733-91A0-534DFA412892}"/>
          </ac:spMkLst>
        </pc:spChg>
        <pc:spChg chg="add mod">
          <ac:chgData name="Wang, Han" userId="9a056b73-0254-4e07-9351-ba9f4ce96737" providerId="ADAL" clId="{BE80FE12-4646-4FA4-A284-ABB4D2A3A409}" dt="2024-03-19T14:55:32.948" v="2859" actId="1076"/>
          <ac:spMkLst>
            <pc:docMk/>
            <pc:sldMk cId="2979533540" sldId="355"/>
            <ac:spMk id="11" creationId="{318CACAA-77FE-E913-D0FE-B74669732D22}"/>
          </ac:spMkLst>
        </pc:spChg>
        <pc:spChg chg="add mod">
          <ac:chgData name="Wang, Han" userId="9a056b73-0254-4e07-9351-ba9f4ce96737" providerId="ADAL" clId="{BE80FE12-4646-4FA4-A284-ABB4D2A3A409}" dt="2024-03-19T14:54:33.738" v="2848" actId="1076"/>
          <ac:spMkLst>
            <pc:docMk/>
            <pc:sldMk cId="2979533540" sldId="355"/>
            <ac:spMk id="15" creationId="{5F8EDB67-233A-399A-ABE5-C43CD9BDCDA4}"/>
          </ac:spMkLst>
        </pc:spChg>
        <pc:spChg chg="add mod">
          <ac:chgData name="Wang, Han" userId="9a056b73-0254-4e07-9351-ba9f4ce96737" providerId="ADAL" clId="{BE80FE12-4646-4FA4-A284-ABB4D2A3A409}" dt="2024-03-19T14:54:42.829" v="2850" actId="1076"/>
          <ac:spMkLst>
            <pc:docMk/>
            <pc:sldMk cId="2979533540" sldId="355"/>
            <ac:spMk id="16" creationId="{B1D727FA-FE0F-AA18-1F2C-4490E9908C5A}"/>
          </ac:spMkLst>
        </pc:spChg>
        <pc:spChg chg="add mod">
          <ac:chgData name="Wang, Han" userId="9a056b73-0254-4e07-9351-ba9f4ce96737" providerId="ADAL" clId="{BE80FE12-4646-4FA4-A284-ABB4D2A3A409}" dt="2024-03-19T14:54:50.815" v="2853" actId="1076"/>
          <ac:spMkLst>
            <pc:docMk/>
            <pc:sldMk cId="2979533540" sldId="355"/>
            <ac:spMk id="17" creationId="{838F765A-8806-5313-7D3B-BE50529B5618}"/>
          </ac:spMkLst>
        </pc:spChg>
        <pc:spChg chg="add mod">
          <ac:chgData name="Wang, Han" userId="9a056b73-0254-4e07-9351-ba9f4ce96737" providerId="ADAL" clId="{BE80FE12-4646-4FA4-A284-ABB4D2A3A409}" dt="2024-03-19T14:55:28.695" v="2858" actId="1076"/>
          <ac:spMkLst>
            <pc:docMk/>
            <pc:sldMk cId="2979533540" sldId="355"/>
            <ac:spMk id="18" creationId="{CFCDD604-1526-951E-6C02-4601547F7BB4}"/>
          </ac:spMkLst>
        </pc:spChg>
        <pc:spChg chg="add mod">
          <ac:chgData name="Wang, Han" userId="9a056b73-0254-4e07-9351-ba9f4ce96737" providerId="ADAL" clId="{BE80FE12-4646-4FA4-A284-ABB4D2A3A409}" dt="2024-04-11T12:22:36.576" v="6505" actId="20577"/>
          <ac:spMkLst>
            <pc:docMk/>
            <pc:sldMk cId="2979533540" sldId="355"/>
            <ac:spMk id="19" creationId="{364E7A06-6AA1-CB63-EA42-4EBB8B25979F}"/>
          </ac:spMkLst>
        </pc:spChg>
        <pc:spChg chg="add mod">
          <ac:chgData name="Wang, Han" userId="9a056b73-0254-4e07-9351-ba9f4ce96737" providerId="ADAL" clId="{BE80FE12-4646-4FA4-A284-ABB4D2A3A409}" dt="2024-03-19T13:56:38.851" v="2145" actId="1076"/>
          <ac:spMkLst>
            <pc:docMk/>
            <pc:sldMk cId="2979533540" sldId="355"/>
            <ac:spMk id="20" creationId="{612302BD-6841-9B58-A66B-40534A5A23E2}"/>
          </ac:spMkLst>
        </pc:spChg>
        <pc:spChg chg="add mod">
          <ac:chgData name="Wang, Han" userId="9a056b73-0254-4e07-9351-ba9f4ce96737" providerId="ADAL" clId="{BE80FE12-4646-4FA4-A284-ABB4D2A3A409}" dt="2024-04-11T12:22:43.513" v="6511" actId="20577"/>
          <ac:spMkLst>
            <pc:docMk/>
            <pc:sldMk cId="2979533540" sldId="355"/>
            <ac:spMk id="21" creationId="{F17DE684-4C48-8D2D-10AE-F72B162FF62D}"/>
          </ac:spMkLst>
        </pc:spChg>
        <pc:spChg chg="add mod">
          <ac:chgData name="Wang, Han" userId="9a056b73-0254-4e07-9351-ba9f4ce96737" providerId="ADAL" clId="{BE80FE12-4646-4FA4-A284-ABB4D2A3A409}" dt="2024-03-19T13:56:38.851" v="2145" actId="1076"/>
          <ac:spMkLst>
            <pc:docMk/>
            <pc:sldMk cId="2979533540" sldId="355"/>
            <ac:spMk id="22" creationId="{262759DD-515B-6ADC-0099-161F2616DE71}"/>
          </ac:spMkLst>
        </pc:spChg>
        <pc:spChg chg="add mod">
          <ac:chgData name="Wang, Han" userId="9a056b73-0254-4e07-9351-ba9f4ce96737" providerId="ADAL" clId="{BE80FE12-4646-4FA4-A284-ABB4D2A3A409}" dt="2024-03-19T13:56:38.851" v="2145" actId="1076"/>
          <ac:spMkLst>
            <pc:docMk/>
            <pc:sldMk cId="2979533540" sldId="355"/>
            <ac:spMk id="23" creationId="{C01CAF68-1059-0F57-630C-FFAA085C7472}"/>
          </ac:spMkLst>
        </pc:spChg>
        <pc:spChg chg="add mod">
          <ac:chgData name="Wang, Han" userId="9a056b73-0254-4e07-9351-ba9f4ce96737" providerId="ADAL" clId="{BE80FE12-4646-4FA4-A284-ABB4D2A3A409}" dt="2024-03-19T13:56:38.851" v="2145" actId="1076"/>
          <ac:spMkLst>
            <pc:docMk/>
            <pc:sldMk cId="2979533540" sldId="355"/>
            <ac:spMk id="24" creationId="{0DEEBE1C-CB16-0A1D-6044-F77B3FC1FF59}"/>
          </ac:spMkLst>
        </pc:spChg>
        <pc:spChg chg="add mod">
          <ac:chgData name="Wang, Han" userId="9a056b73-0254-4e07-9351-ba9f4ce96737" providerId="ADAL" clId="{BE80FE12-4646-4FA4-A284-ABB4D2A3A409}" dt="2024-03-19T13:56:38.851" v="2145" actId="1076"/>
          <ac:spMkLst>
            <pc:docMk/>
            <pc:sldMk cId="2979533540" sldId="355"/>
            <ac:spMk id="25" creationId="{BAD9A1DA-1FA2-0F34-F87F-FE9450848B81}"/>
          </ac:spMkLst>
        </pc:spChg>
        <pc:spChg chg="add mod">
          <ac:chgData name="Wang, Han" userId="9a056b73-0254-4e07-9351-ba9f4ce96737" providerId="ADAL" clId="{BE80FE12-4646-4FA4-A284-ABB4D2A3A409}" dt="2024-03-19T13:56:38.851" v="2145" actId="1076"/>
          <ac:spMkLst>
            <pc:docMk/>
            <pc:sldMk cId="2979533540" sldId="355"/>
            <ac:spMk id="26" creationId="{E69DB8B8-7370-95CC-9B14-E29F282E5120}"/>
          </ac:spMkLst>
        </pc:spChg>
        <pc:spChg chg="add mod">
          <ac:chgData name="Wang, Han" userId="9a056b73-0254-4e07-9351-ba9f4ce96737" providerId="ADAL" clId="{BE80FE12-4646-4FA4-A284-ABB4D2A3A409}" dt="2024-04-11T12:23:49.978" v="6553" actId="20577"/>
          <ac:spMkLst>
            <pc:docMk/>
            <pc:sldMk cId="2979533540" sldId="355"/>
            <ac:spMk id="27" creationId="{2D385FDF-0AEA-95B1-9101-EB750550E69A}"/>
          </ac:spMkLst>
        </pc:spChg>
        <pc:spChg chg="add del mod ord">
          <ac:chgData name="Wang, Han" userId="9a056b73-0254-4e07-9351-ba9f4ce96737" providerId="ADAL" clId="{BE80FE12-4646-4FA4-A284-ABB4D2A3A409}" dt="2024-03-19T14:01:59.105" v="2164" actId="478"/>
          <ac:spMkLst>
            <pc:docMk/>
            <pc:sldMk cId="2979533540" sldId="355"/>
            <ac:spMk id="28" creationId="{517FF057-77FE-65DF-DCDB-21C1350C2432}"/>
          </ac:spMkLst>
        </pc:spChg>
        <pc:spChg chg="add del mod">
          <ac:chgData name="Wang, Han" userId="9a056b73-0254-4e07-9351-ba9f4ce96737" providerId="ADAL" clId="{BE80FE12-4646-4FA4-A284-ABB4D2A3A409}" dt="2024-03-19T14:02:00.513" v="2165" actId="478"/>
          <ac:spMkLst>
            <pc:docMk/>
            <pc:sldMk cId="2979533540" sldId="355"/>
            <ac:spMk id="29" creationId="{01947B61-F742-B2D5-D7BD-AC36DD23F7AD}"/>
          </ac:spMkLst>
        </pc:spChg>
        <pc:cxnChg chg="add mod">
          <ac:chgData name="Wang, Han" userId="9a056b73-0254-4e07-9351-ba9f4ce96737" providerId="ADAL" clId="{BE80FE12-4646-4FA4-A284-ABB4D2A3A409}" dt="2024-03-19T14:56:14.505" v="2867" actId="14100"/>
          <ac:cxnSpMkLst>
            <pc:docMk/>
            <pc:sldMk cId="2979533540" sldId="355"/>
            <ac:cxnSpMk id="12" creationId="{AB80ADC5-94C2-E3CE-EDB1-5C02F1DD57BA}"/>
          </ac:cxnSpMkLst>
        </pc:cxnChg>
        <pc:cxnChg chg="add del mod">
          <ac:chgData name="Wang, Han" userId="9a056b73-0254-4e07-9351-ba9f4ce96737" providerId="ADAL" clId="{BE80FE12-4646-4FA4-A284-ABB4D2A3A409}" dt="2024-03-19T14:56:18.532" v="2868" actId="14100"/>
          <ac:cxnSpMkLst>
            <pc:docMk/>
            <pc:sldMk cId="2979533540" sldId="355"/>
            <ac:cxnSpMk id="13" creationId="{21A221E5-4CE1-F0EE-3281-DD135824C08E}"/>
          </ac:cxnSpMkLst>
        </pc:cxnChg>
        <pc:cxnChg chg="add mod">
          <ac:chgData name="Wang, Han" userId="9a056b73-0254-4e07-9351-ba9f4ce96737" providerId="ADAL" clId="{BE80FE12-4646-4FA4-A284-ABB4D2A3A409}" dt="2024-03-19T14:56:24.831" v="2870" actId="14100"/>
          <ac:cxnSpMkLst>
            <pc:docMk/>
            <pc:sldMk cId="2979533540" sldId="355"/>
            <ac:cxnSpMk id="14" creationId="{45716004-7B54-7D10-2D38-AFD9DC7DAB61}"/>
          </ac:cxnSpMkLst>
        </pc:cxnChg>
        <pc:cxnChg chg="add del mod">
          <ac:chgData name="Wang, Han" userId="9a056b73-0254-4e07-9351-ba9f4ce96737" providerId="ADAL" clId="{BE80FE12-4646-4FA4-A284-ABB4D2A3A409}" dt="2024-03-19T14:00:32.598" v="2156" actId="478"/>
          <ac:cxnSpMkLst>
            <pc:docMk/>
            <pc:sldMk cId="2979533540" sldId="355"/>
            <ac:cxnSpMk id="31" creationId="{97459DB6-C753-B16F-735D-F3275B455D6B}"/>
          </ac:cxnSpMkLst>
        </pc:cxnChg>
        <pc:cxnChg chg="add del mod">
          <ac:chgData name="Wang, Han" userId="9a056b73-0254-4e07-9351-ba9f4ce96737" providerId="ADAL" clId="{BE80FE12-4646-4FA4-A284-ABB4D2A3A409}" dt="2024-03-19T14:01:01.886" v="2158" actId="478"/>
          <ac:cxnSpMkLst>
            <pc:docMk/>
            <pc:sldMk cId="2979533540" sldId="355"/>
            <ac:cxnSpMk id="34" creationId="{DF25DB8A-4670-3A62-8DCD-AAFF56D6396D}"/>
          </ac:cxnSpMkLst>
        </pc:cxnChg>
        <pc:cxnChg chg="add del mod">
          <ac:chgData name="Wang, Han" userId="9a056b73-0254-4e07-9351-ba9f4ce96737" providerId="ADAL" clId="{BE80FE12-4646-4FA4-A284-ABB4D2A3A409}" dt="2024-03-19T14:01:53.120" v="2161" actId="478"/>
          <ac:cxnSpMkLst>
            <pc:docMk/>
            <pc:sldMk cId="2979533540" sldId="355"/>
            <ac:cxnSpMk id="36" creationId="{25385282-B6EE-0CFE-A5CC-BF959A417BF6}"/>
          </ac:cxnSpMkLst>
        </pc:cxnChg>
      </pc:sldChg>
      <pc:sldChg chg="addSp delSp modSp add mod setBg modClrScheme chgLayout">
        <pc:chgData name="Wang, Han" userId="9a056b73-0254-4e07-9351-ba9f4ce96737" providerId="ADAL" clId="{BE80FE12-4646-4FA4-A284-ABB4D2A3A409}" dt="2024-03-19T13:45:36.501" v="2073" actId="1076"/>
        <pc:sldMkLst>
          <pc:docMk/>
          <pc:sldMk cId="2138114542" sldId="356"/>
        </pc:sldMkLst>
        <pc:spChg chg="mod ord">
          <ac:chgData name="Wang, Han" userId="9a056b73-0254-4e07-9351-ba9f4ce96737" providerId="ADAL" clId="{BE80FE12-4646-4FA4-A284-ABB4D2A3A409}" dt="2024-03-19T13:26:41.142" v="1880" actId="700"/>
          <ac:spMkLst>
            <pc:docMk/>
            <pc:sldMk cId="2138114542" sldId="356"/>
            <ac:spMk id="2" creationId="{2CD9D792-27D8-7B59-CE6A-05F51063A3D3}"/>
          </ac:spMkLst>
        </pc:spChg>
        <pc:spChg chg="mod ord">
          <ac:chgData name="Wang, Han" userId="9a056b73-0254-4e07-9351-ba9f4ce96737" providerId="ADAL" clId="{BE80FE12-4646-4FA4-A284-ABB4D2A3A409}" dt="2024-03-19T13:26:41.142" v="1880" actId="700"/>
          <ac:spMkLst>
            <pc:docMk/>
            <pc:sldMk cId="2138114542" sldId="356"/>
            <ac:spMk id="3" creationId="{84A13AF9-50F6-1D06-8188-A1A0C75301F0}"/>
          </ac:spMkLst>
        </pc:spChg>
        <pc:spChg chg="mod ord">
          <ac:chgData name="Wang, Han" userId="9a056b73-0254-4e07-9351-ba9f4ce96737" providerId="ADAL" clId="{BE80FE12-4646-4FA4-A284-ABB4D2A3A409}" dt="2024-03-19T13:26:41.142" v="1880" actId="700"/>
          <ac:spMkLst>
            <pc:docMk/>
            <pc:sldMk cId="2138114542" sldId="356"/>
            <ac:spMk id="4" creationId="{80946BA5-8C95-C979-BDA5-72E871F1C257}"/>
          </ac:spMkLst>
        </pc:spChg>
        <pc:spChg chg="mod ord">
          <ac:chgData name="Wang, Han" userId="9a056b73-0254-4e07-9351-ba9f4ce96737" providerId="ADAL" clId="{BE80FE12-4646-4FA4-A284-ABB4D2A3A409}" dt="2024-03-19T13:26:41.142" v="1880" actId="700"/>
          <ac:spMkLst>
            <pc:docMk/>
            <pc:sldMk cId="2138114542" sldId="356"/>
            <ac:spMk id="5" creationId="{C5B590F3-AF25-6C49-2D01-A2295CC26DA4}"/>
          </ac:spMkLst>
        </pc:spChg>
        <pc:spChg chg="del mod ord">
          <ac:chgData name="Wang, Han" userId="9a056b73-0254-4e07-9351-ba9f4ce96737" providerId="ADAL" clId="{BE80FE12-4646-4FA4-A284-ABB4D2A3A409}" dt="2024-03-19T13:26:41.142" v="1880" actId="700"/>
          <ac:spMkLst>
            <pc:docMk/>
            <pc:sldMk cId="2138114542" sldId="356"/>
            <ac:spMk id="6" creationId="{54AED05F-155E-873A-FE48-9F4199A66CCA}"/>
          </ac:spMkLst>
        </pc:spChg>
        <pc:spChg chg="del mod ord">
          <ac:chgData name="Wang, Han" userId="9a056b73-0254-4e07-9351-ba9f4ce96737" providerId="ADAL" clId="{BE80FE12-4646-4FA4-A284-ABB4D2A3A409}" dt="2024-03-19T13:44:19.636" v="2050" actId="478"/>
          <ac:spMkLst>
            <pc:docMk/>
            <pc:sldMk cId="2138114542" sldId="356"/>
            <ac:spMk id="7" creationId="{01220AEE-3147-A303-97AD-7596C40A7496}"/>
          </ac:spMkLst>
        </pc:spChg>
        <pc:spChg chg="del">
          <ac:chgData name="Wang, Han" userId="9a056b73-0254-4e07-9351-ba9f4ce96737" providerId="ADAL" clId="{BE80FE12-4646-4FA4-A284-ABB4D2A3A409}" dt="2024-03-19T13:26:29.183" v="1879" actId="478"/>
          <ac:spMkLst>
            <pc:docMk/>
            <pc:sldMk cId="2138114542" sldId="356"/>
            <ac:spMk id="8" creationId="{C7FEF952-A48F-301F-816F-9E017EC60A6D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9" creationId="{53DE39E0-CC52-ABD2-BB38-0F66281AA557}"/>
          </ac:spMkLst>
        </pc:spChg>
        <pc:spChg chg="mod">
          <ac:chgData name="Wang, Han" userId="9a056b73-0254-4e07-9351-ba9f4ce96737" providerId="ADAL" clId="{BE80FE12-4646-4FA4-A284-ABB4D2A3A409}" dt="2024-03-19T13:30:38.621" v="1908" actId="1582"/>
          <ac:spMkLst>
            <pc:docMk/>
            <pc:sldMk cId="2138114542" sldId="356"/>
            <ac:spMk id="11" creationId="{151C6805-2B4A-12F0-8C0F-58C1681BC495}"/>
          </ac:spMkLst>
        </pc:spChg>
        <pc:spChg chg="mod">
          <ac:chgData name="Wang, Han" userId="9a056b73-0254-4e07-9351-ba9f4ce96737" providerId="ADAL" clId="{BE80FE12-4646-4FA4-A284-ABB4D2A3A409}" dt="2024-03-19T13:30:38.621" v="1908" actId="1582"/>
          <ac:spMkLst>
            <pc:docMk/>
            <pc:sldMk cId="2138114542" sldId="356"/>
            <ac:spMk id="12" creationId="{5A1F7B05-F991-35BD-9511-76A81FFECF38}"/>
          </ac:spMkLst>
        </pc:spChg>
        <pc:spChg chg="mod">
          <ac:chgData name="Wang, Han" userId="9a056b73-0254-4e07-9351-ba9f4ce96737" providerId="ADAL" clId="{BE80FE12-4646-4FA4-A284-ABB4D2A3A409}" dt="2024-03-19T13:30:38.621" v="1908" actId="1582"/>
          <ac:spMkLst>
            <pc:docMk/>
            <pc:sldMk cId="2138114542" sldId="356"/>
            <ac:spMk id="13" creationId="{AAF17B7E-4FA0-3D78-AFC4-76213747819B}"/>
          </ac:spMkLst>
        </pc:spChg>
        <pc:spChg chg="mod">
          <ac:chgData name="Wang, Han" userId="9a056b73-0254-4e07-9351-ba9f4ce96737" providerId="ADAL" clId="{BE80FE12-4646-4FA4-A284-ABB4D2A3A409}" dt="2024-03-19T13:30:38.621" v="1908" actId="1582"/>
          <ac:spMkLst>
            <pc:docMk/>
            <pc:sldMk cId="2138114542" sldId="356"/>
            <ac:spMk id="14" creationId="{5ADA0C8B-AD79-E5C3-D0CD-94A0D811D64E}"/>
          </ac:spMkLst>
        </pc:spChg>
        <pc:spChg chg="mod">
          <ac:chgData name="Wang, Han" userId="9a056b73-0254-4e07-9351-ba9f4ce96737" providerId="ADAL" clId="{BE80FE12-4646-4FA4-A284-ABB4D2A3A409}" dt="2024-03-19T13:30:38.621" v="1908" actId="1582"/>
          <ac:spMkLst>
            <pc:docMk/>
            <pc:sldMk cId="2138114542" sldId="356"/>
            <ac:spMk id="15" creationId="{4FA32E4C-182A-A45E-2B6D-F2521E7B7DC0}"/>
          </ac:spMkLst>
        </pc:spChg>
        <pc:spChg chg="add del mod">
          <ac:chgData name="Wang, Han" userId="9a056b73-0254-4e07-9351-ba9f4ce96737" providerId="ADAL" clId="{BE80FE12-4646-4FA4-A284-ABB4D2A3A409}" dt="2024-03-19T13:26:41.142" v="1880" actId="700"/>
          <ac:spMkLst>
            <pc:docMk/>
            <pc:sldMk cId="2138114542" sldId="356"/>
            <ac:spMk id="17" creationId="{5C71AD5C-D687-B34E-4A5F-16C3F46FD160}"/>
          </ac:spMkLst>
        </pc:spChg>
        <pc:spChg chg="add mod ord">
          <ac:chgData name="Wang, Han" userId="9a056b73-0254-4e07-9351-ba9f4ce96737" providerId="ADAL" clId="{BE80FE12-4646-4FA4-A284-ABB4D2A3A409}" dt="2024-03-19T13:44:16.786" v="2049" actId="20577"/>
          <ac:spMkLst>
            <pc:docMk/>
            <pc:sldMk cId="2138114542" sldId="356"/>
            <ac:spMk id="18" creationId="{64B82B7F-FA11-AE31-5195-A8478AA06BF6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19" creationId="{54913D4E-155C-5FCD-B6EE-B01C42C83CB9}"/>
          </ac:spMkLst>
        </pc:spChg>
        <pc:spChg chg="mod">
          <ac:chgData name="Wang, Han" userId="9a056b73-0254-4e07-9351-ba9f4ce96737" providerId="ADAL" clId="{BE80FE12-4646-4FA4-A284-ABB4D2A3A409}" dt="2024-03-19T13:30:10.340" v="1903" actId="1582"/>
          <ac:spMkLst>
            <pc:docMk/>
            <pc:sldMk cId="2138114542" sldId="356"/>
            <ac:spMk id="21" creationId="{294BBB8A-6D2E-E3A1-71CC-BEA28A563478}"/>
          </ac:spMkLst>
        </pc:spChg>
        <pc:spChg chg="mod">
          <ac:chgData name="Wang, Han" userId="9a056b73-0254-4e07-9351-ba9f4ce96737" providerId="ADAL" clId="{BE80FE12-4646-4FA4-A284-ABB4D2A3A409}" dt="2024-03-19T13:30:10.340" v="1903" actId="1582"/>
          <ac:spMkLst>
            <pc:docMk/>
            <pc:sldMk cId="2138114542" sldId="356"/>
            <ac:spMk id="22" creationId="{8F76B534-E844-52DD-07C0-91C015DC138D}"/>
          </ac:spMkLst>
        </pc:spChg>
        <pc:spChg chg="mod">
          <ac:chgData name="Wang, Han" userId="9a056b73-0254-4e07-9351-ba9f4ce96737" providerId="ADAL" clId="{BE80FE12-4646-4FA4-A284-ABB4D2A3A409}" dt="2024-03-19T13:30:10.340" v="1903" actId="1582"/>
          <ac:spMkLst>
            <pc:docMk/>
            <pc:sldMk cId="2138114542" sldId="356"/>
            <ac:spMk id="23" creationId="{F0651E83-3EF6-DF5F-5778-818875D3B18F}"/>
          </ac:spMkLst>
        </pc:spChg>
        <pc:spChg chg="mod">
          <ac:chgData name="Wang, Han" userId="9a056b73-0254-4e07-9351-ba9f4ce96737" providerId="ADAL" clId="{BE80FE12-4646-4FA4-A284-ABB4D2A3A409}" dt="2024-03-19T13:30:10.340" v="1903" actId="1582"/>
          <ac:spMkLst>
            <pc:docMk/>
            <pc:sldMk cId="2138114542" sldId="356"/>
            <ac:spMk id="24" creationId="{0C3A0956-7625-8B22-4DBD-159AC006C8FE}"/>
          </ac:spMkLst>
        </pc:spChg>
        <pc:spChg chg="add 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25" creationId="{3C6BAE49-FB8B-70CC-3609-03DF9C1AF485}"/>
          </ac:spMkLst>
        </pc:spChg>
        <pc:spChg chg="add 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26" creationId="{5AE33580-17DA-33BD-4B54-084E5EB478E0}"/>
          </ac:spMkLst>
        </pc:spChg>
        <pc:spChg chg="add mod">
          <ac:chgData name="Wang, Han" userId="9a056b73-0254-4e07-9351-ba9f4ce96737" providerId="ADAL" clId="{BE80FE12-4646-4FA4-A284-ABB4D2A3A409}" dt="2024-03-19T13:45:36.501" v="2073" actId="1076"/>
          <ac:spMkLst>
            <pc:docMk/>
            <pc:sldMk cId="2138114542" sldId="356"/>
            <ac:spMk id="27" creationId="{9AB54EC2-819D-1094-0B8D-022B86E738D9}"/>
          </ac:spMkLst>
        </pc:spChg>
        <pc:spChg chg="add mod or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28" creationId="{D9D3DAC8-1177-B07B-E33D-9DD7582763C3}"/>
          </ac:spMkLst>
        </pc:spChg>
        <pc:spChg chg="add del mod">
          <ac:chgData name="Wang, Han" userId="9a056b73-0254-4e07-9351-ba9f4ce96737" providerId="ADAL" clId="{BE80FE12-4646-4FA4-A284-ABB4D2A3A409}" dt="2024-03-19T13:44:22.569" v="2051" actId="478"/>
          <ac:spMkLst>
            <pc:docMk/>
            <pc:sldMk cId="2138114542" sldId="356"/>
            <ac:spMk id="30" creationId="{5A27C3FF-CD4D-A0ED-1B3A-6AF4683C8706}"/>
          </ac:spMkLst>
        </pc:spChg>
        <pc:spChg chg="add mod">
          <ac:chgData name="Wang, Han" userId="9a056b73-0254-4e07-9351-ba9f4ce96737" providerId="ADAL" clId="{BE80FE12-4646-4FA4-A284-ABB4D2A3A409}" dt="2024-03-19T13:44:48.327" v="2055" actId="1076"/>
          <ac:spMkLst>
            <pc:docMk/>
            <pc:sldMk cId="2138114542" sldId="356"/>
            <ac:spMk id="31" creationId="{86CC67A9-FD5E-2BA8-E9A5-CAC1F730118B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32" creationId="{4F5C119D-07EF-7149-FF93-443528D5B07A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33" creationId="{5A301CCB-05DD-4261-27FC-BE6A91A35F4D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34" creationId="{1F46746F-6527-7394-7640-4040B1C6784E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35" creationId="{C2CB8FE9-AF5D-8205-15E9-762CBBF001A8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36" creationId="{9B8D08E7-7289-A6F2-D9C3-6D362D34DCE8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37" creationId="{0CBDAF09-51F0-82D1-AC4C-01D2B0259A54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38" creationId="{61545223-9924-DFF1-C1B4-9F5EF3BB5FA2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39" creationId="{F26A8648-0095-CF8F-1B65-4042F005E8A5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40" creationId="{E81F25AE-BD8A-EB7E-0503-9067727D7DF1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41" creationId="{FB7CEB79-F11F-42C4-9FAD-D94666D9D6A2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42" creationId="{75D0099B-1C85-4C6D-EF8E-E0480A13BA1E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43" creationId="{8F9D5C7B-869D-90A1-6DAA-2AF784F2C4D4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44" creationId="{E2F06217-7F56-A733-EE7F-3F23192465F6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45" creationId="{E4F2124F-9579-F9B3-2F2A-42DCE5CB529B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46" creationId="{EEAAB233-0EC9-D207-B0B7-BBE899305A12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47" creationId="{BA1EE544-F481-AEB1-58CC-BF57469F2416}"/>
          </ac:spMkLst>
        </pc:spChg>
        <pc:spChg chg="add mod">
          <ac:chgData name="Wang, Han" userId="9a056b73-0254-4e07-9351-ba9f4ce96737" providerId="ADAL" clId="{BE80FE12-4646-4FA4-A284-ABB4D2A3A409}" dt="2024-03-19T13:45:14.293" v="2072" actId="1076"/>
          <ac:spMkLst>
            <pc:docMk/>
            <pc:sldMk cId="2138114542" sldId="356"/>
            <ac:spMk id="48" creationId="{338EB9E6-CCFF-059E-4E9C-B457C6B53A3E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50" creationId="{A0CCD6B5-B1B6-A402-2BE3-711E32F3D1A7}"/>
          </ac:spMkLst>
        </pc:spChg>
        <pc:spChg chg="mod">
          <ac:chgData name="Wang, Han" userId="9a056b73-0254-4e07-9351-ba9f4ce96737" providerId="ADAL" clId="{BE80FE12-4646-4FA4-A284-ABB4D2A3A409}" dt="2024-03-19T13:44:28.432" v="2052" actId="1076"/>
          <ac:spMkLst>
            <pc:docMk/>
            <pc:sldMk cId="2138114542" sldId="356"/>
            <ac:spMk id="51" creationId="{D436C336-68A4-C581-3D1D-35EA412EE3FF}"/>
          </ac:spMkLst>
        </pc:spChg>
        <pc:spChg chg="mod">
          <ac:chgData name="Wang, Han" userId="9a056b73-0254-4e07-9351-ba9f4ce96737" providerId="ADAL" clId="{BE80FE12-4646-4FA4-A284-ABB4D2A3A409}" dt="2024-03-19T13:31:04.642" v="1910" actId="693"/>
          <ac:spMkLst>
            <pc:docMk/>
            <pc:sldMk cId="2138114542" sldId="356"/>
            <ac:spMk id="59" creationId="{828598FA-029B-FFF7-505C-D4C4731E0138}"/>
          </ac:spMkLst>
        </pc:spChg>
        <pc:spChg chg="mod">
          <ac:chgData name="Wang, Han" userId="9a056b73-0254-4e07-9351-ba9f4ce96737" providerId="ADAL" clId="{BE80FE12-4646-4FA4-A284-ABB4D2A3A409}" dt="2024-03-19T13:31:04.642" v="1910" actId="693"/>
          <ac:spMkLst>
            <pc:docMk/>
            <pc:sldMk cId="2138114542" sldId="356"/>
            <ac:spMk id="60" creationId="{526BB549-6556-0B33-1D77-FFE2B883C5AB}"/>
          </ac:spMkLst>
        </pc:spChg>
        <pc:spChg chg="mod">
          <ac:chgData name="Wang, Han" userId="9a056b73-0254-4e07-9351-ba9f4ce96737" providerId="ADAL" clId="{BE80FE12-4646-4FA4-A284-ABB4D2A3A409}" dt="2024-03-19T13:31:04.642" v="1910" actId="693"/>
          <ac:spMkLst>
            <pc:docMk/>
            <pc:sldMk cId="2138114542" sldId="356"/>
            <ac:spMk id="61" creationId="{60823B20-057D-8AC7-C3FD-975E3B2ED43A}"/>
          </ac:spMkLst>
        </pc:spChg>
        <pc:spChg chg="mod">
          <ac:chgData name="Wang, Han" userId="9a056b73-0254-4e07-9351-ba9f4ce96737" providerId="ADAL" clId="{BE80FE12-4646-4FA4-A284-ABB4D2A3A409}" dt="2024-03-19T13:31:04.642" v="1910" actId="693"/>
          <ac:spMkLst>
            <pc:docMk/>
            <pc:sldMk cId="2138114542" sldId="356"/>
            <ac:spMk id="62" creationId="{79690300-E4F9-0C5A-6971-2533DDCF8B10}"/>
          </ac:spMkLst>
        </pc:spChg>
        <pc:spChg chg="mod">
          <ac:chgData name="Wang, Han" userId="9a056b73-0254-4e07-9351-ba9f4ce96737" providerId="ADAL" clId="{BE80FE12-4646-4FA4-A284-ABB4D2A3A409}" dt="2024-03-19T13:31:04.642" v="1910" actId="693"/>
          <ac:spMkLst>
            <pc:docMk/>
            <pc:sldMk cId="2138114542" sldId="356"/>
            <ac:spMk id="63" creationId="{3ECEB62C-169A-A990-1D86-ED4A350F36AE}"/>
          </ac:spMkLst>
        </pc:spChg>
        <pc:spChg chg="del">
          <ac:chgData name="Wang, Han" userId="9a056b73-0254-4e07-9351-ba9f4ce96737" providerId="ADAL" clId="{BE80FE12-4646-4FA4-A284-ABB4D2A3A409}" dt="2024-03-19T13:26:49.906" v="1884" actId="478"/>
          <ac:spMkLst>
            <pc:docMk/>
            <pc:sldMk cId="2138114542" sldId="356"/>
            <ac:spMk id="99" creationId="{A2500C96-36FA-8A29-CE77-2BA19B8DB752}"/>
          </ac:spMkLst>
        </pc:spChg>
        <pc:spChg chg="del">
          <ac:chgData name="Wang, Han" userId="9a056b73-0254-4e07-9351-ba9f4ce96737" providerId="ADAL" clId="{BE80FE12-4646-4FA4-A284-ABB4D2A3A409}" dt="2024-03-19T13:26:49.906" v="1884" actId="478"/>
          <ac:spMkLst>
            <pc:docMk/>
            <pc:sldMk cId="2138114542" sldId="356"/>
            <ac:spMk id="100" creationId="{DA34665A-FF58-5631-85D5-DECCFE03338F}"/>
          </ac:spMkLst>
        </pc:spChg>
        <pc:spChg chg="del">
          <ac:chgData name="Wang, Han" userId="9a056b73-0254-4e07-9351-ba9f4ce96737" providerId="ADAL" clId="{BE80FE12-4646-4FA4-A284-ABB4D2A3A409}" dt="2024-03-19T13:26:49.906" v="1884" actId="478"/>
          <ac:spMkLst>
            <pc:docMk/>
            <pc:sldMk cId="2138114542" sldId="356"/>
            <ac:spMk id="101" creationId="{80250E11-9308-E618-B7B2-83F81F93D463}"/>
          </ac:spMkLst>
        </pc:spChg>
        <pc:spChg chg="del">
          <ac:chgData name="Wang, Han" userId="9a056b73-0254-4e07-9351-ba9f4ce96737" providerId="ADAL" clId="{BE80FE12-4646-4FA4-A284-ABB4D2A3A409}" dt="2024-03-19T13:26:49.906" v="1884" actId="478"/>
          <ac:spMkLst>
            <pc:docMk/>
            <pc:sldMk cId="2138114542" sldId="356"/>
            <ac:spMk id="106" creationId="{702D93DB-C50F-00D7-52E1-33DD4BEB4D42}"/>
          </ac:spMkLst>
        </pc:spChg>
        <pc:spChg chg="del">
          <ac:chgData name="Wang, Han" userId="9a056b73-0254-4e07-9351-ba9f4ce96737" providerId="ADAL" clId="{BE80FE12-4646-4FA4-A284-ABB4D2A3A409}" dt="2024-03-19T13:26:49.906" v="1884" actId="478"/>
          <ac:spMkLst>
            <pc:docMk/>
            <pc:sldMk cId="2138114542" sldId="356"/>
            <ac:spMk id="107" creationId="{935B5DA5-F0EF-D580-3EE5-B1573C2A79AE}"/>
          </ac:spMkLst>
        </pc:spChg>
        <pc:spChg chg="del">
          <ac:chgData name="Wang, Han" userId="9a056b73-0254-4e07-9351-ba9f4ce96737" providerId="ADAL" clId="{BE80FE12-4646-4FA4-A284-ABB4D2A3A409}" dt="2024-03-19T13:26:49.906" v="1884" actId="478"/>
          <ac:spMkLst>
            <pc:docMk/>
            <pc:sldMk cId="2138114542" sldId="356"/>
            <ac:spMk id="108" creationId="{9FF316FE-773C-1182-573C-0CFFC496FA84}"/>
          </ac:spMkLst>
        </pc:spChg>
        <pc:spChg chg="del">
          <ac:chgData name="Wang, Han" userId="9a056b73-0254-4e07-9351-ba9f4ce96737" providerId="ADAL" clId="{BE80FE12-4646-4FA4-A284-ABB4D2A3A409}" dt="2024-03-19T13:26:49.906" v="1884" actId="478"/>
          <ac:spMkLst>
            <pc:docMk/>
            <pc:sldMk cId="2138114542" sldId="356"/>
            <ac:spMk id="109" creationId="{B8B21327-8830-CE94-06D7-50D13F41F1EE}"/>
          </ac:spMkLst>
        </pc:spChg>
        <pc:spChg chg="mod">
          <ac:chgData name="Wang, Han" userId="9a056b73-0254-4e07-9351-ba9f4ce96737" providerId="ADAL" clId="{BE80FE12-4646-4FA4-A284-ABB4D2A3A409}" dt="2024-03-19T13:29:40.529" v="1902" actId="1582"/>
          <ac:spMkLst>
            <pc:docMk/>
            <pc:sldMk cId="2138114542" sldId="356"/>
            <ac:spMk id="117" creationId="{6BECB0F7-6EB0-3A82-5A61-3B662B0DD29A}"/>
          </ac:spMkLst>
        </pc:spChg>
        <pc:spChg chg="mod">
          <ac:chgData name="Wang, Han" userId="9a056b73-0254-4e07-9351-ba9f4ce96737" providerId="ADAL" clId="{BE80FE12-4646-4FA4-A284-ABB4D2A3A409}" dt="2024-03-19T13:29:40.529" v="1902" actId="1582"/>
          <ac:spMkLst>
            <pc:docMk/>
            <pc:sldMk cId="2138114542" sldId="356"/>
            <ac:spMk id="123" creationId="{F3AC4B61-419B-2CB4-90A6-0CE9A2020023}"/>
          </ac:spMkLst>
        </pc:spChg>
        <pc:spChg chg="mod">
          <ac:chgData name="Wang, Han" userId="9a056b73-0254-4e07-9351-ba9f4ce96737" providerId="ADAL" clId="{BE80FE12-4646-4FA4-A284-ABB4D2A3A409}" dt="2024-03-19T13:29:40.529" v="1902" actId="1582"/>
          <ac:spMkLst>
            <pc:docMk/>
            <pc:sldMk cId="2138114542" sldId="356"/>
            <ac:spMk id="127" creationId="{B8C0C23B-A16B-DA8A-4541-C2E8AD88B3D7}"/>
          </ac:spMkLst>
        </pc:spChg>
        <pc:spChg chg="mod">
          <ac:chgData name="Wang, Han" userId="9a056b73-0254-4e07-9351-ba9f4ce96737" providerId="ADAL" clId="{BE80FE12-4646-4FA4-A284-ABB4D2A3A409}" dt="2024-03-19T13:29:40.529" v="1902" actId="1582"/>
          <ac:spMkLst>
            <pc:docMk/>
            <pc:sldMk cId="2138114542" sldId="356"/>
            <ac:spMk id="131" creationId="{99D70114-6B45-80F7-4C2C-9410967CC182}"/>
          </ac:spMkLst>
        </pc:spChg>
        <pc:spChg chg="mod">
          <ac:chgData name="Wang, Han" userId="9a056b73-0254-4e07-9351-ba9f4ce96737" providerId="ADAL" clId="{BE80FE12-4646-4FA4-A284-ABB4D2A3A409}" dt="2024-03-19T13:29:40.529" v="1902" actId="1582"/>
          <ac:spMkLst>
            <pc:docMk/>
            <pc:sldMk cId="2138114542" sldId="356"/>
            <ac:spMk id="144" creationId="{DA06783E-387F-A62C-07BE-4DD861C72DB6}"/>
          </ac:spMkLst>
        </pc:spChg>
        <pc:spChg chg="mod">
          <ac:chgData name="Wang, Han" userId="9a056b73-0254-4e07-9351-ba9f4ce96737" providerId="ADAL" clId="{BE80FE12-4646-4FA4-A284-ABB4D2A3A409}" dt="2024-03-19T13:31:47.829" v="1916" actId="1076"/>
          <ac:spMkLst>
            <pc:docMk/>
            <pc:sldMk cId="2138114542" sldId="356"/>
            <ac:spMk id="163" creationId="{8CB8DC35-7809-80F9-6836-5054EA35A798}"/>
          </ac:spMkLst>
        </pc:spChg>
        <pc:spChg chg="mod">
          <ac:chgData name="Wang, Han" userId="9a056b73-0254-4e07-9351-ba9f4ce96737" providerId="ADAL" clId="{BE80FE12-4646-4FA4-A284-ABB4D2A3A409}" dt="2024-03-19T13:31:47.829" v="1916" actId="1076"/>
          <ac:spMkLst>
            <pc:docMk/>
            <pc:sldMk cId="2138114542" sldId="356"/>
            <ac:spMk id="166" creationId="{40270C5B-B870-8D1A-5001-701AE11FC61D}"/>
          </ac:spMkLst>
        </pc:spChg>
        <pc:spChg chg="mod">
          <ac:chgData name="Wang, Han" userId="9a056b73-0254-4e07-9351-ba9f4ce96737" providerId="ADAL" clId="{BE80FE12-4646-4FA4-A284-ABB4D2A3A409}" dt="2024-03-19T13:31:47.829" v="1916" actId="1076"/>
          <ac:spMkLst>
            <pc:docMk/>
            <pc:sldMk cId="2138114542" sldId="356"/>
            <ac:spMk id="167" creationId="{1D0E3610-50FB-655D-283B-5A37D90D5B65}"/>
          </ac:spMkLst>
        </pc:spChg>
        <pc:spChg chg="mod">
          <ac:chgData name="Wang, Han" userId="9a056b73-0254-4e07-9351-ba9f4ce96737" providerId="ADAL" clId="{BE80FE12-4646-4FA4-A284-ABB4D2A3A409}" dt="2024-03-19T13:31:47.829" v="1916" actId="1076"/>
          <ac:spMkLst>
            <pc:docMk/>
            <pc:sldMk cId="2138114542" sldId="356"/>
            <ac:spMk id="168" creationId="{6B35E639-4CE1-2C8E-9857-59AAF0388242}"/>
          </ac:spMkLst>
        </pc:spChg>
        <pc:spChg chg="mod">
          <ac:chgData name="Wang, Han" userId="9a056b73-0254-4e07-9351-ba9f4ce96737" providerId="ADAL" clId="{BE80FE12-4646-4FA4-A284-ABB4D2A3A409}" dt="2024-03-19T13:31:47.829" v="1916" actId="1076"/>
          <ac:spMkLst>
            <pc:docMk/>
            <pc:sldMk cId="2138114542" sldId="356"/>
            <ac:spMk id="171" creationId="{7A62B85B-8FCA-CB80-F047-2DC05EC0F2C4}"/>
          </ac:spMkLst>
        </pc:spChg>
        <pc:spChg chg="mod">
          <ac:chgData name="Wang, Han" userId="9a056b73-0254-4e07-9351-ba9f4ce96737" providerId="ADAL" clId="{BE80FE12-4646-4FA4-A284-ABB4D2A3A409}" dt="2024-03-19T13:37:47.626" v="1980" actId="1076"/>
          <ac:spMkLst>
            <pc:docMk/>
            <pc:sldMk cId="2138114542" sldId="356"/>
            <ac:spMk id="173" creationId="{924D7A0F-7C98-44C4-9F31-C996849DF910}"/>
          </ac:spMkLst>
        </pc:spChg>
        <pc:spChg chg="del">
          <ac:chgData name="Wang, Han" userId="9a056b73-0254-4e07-9351-ba9f4ce96737" providerId="ADAL" clId="{BE80FE12-4646-4FA4-A284-ABB4D2A3A409}" dt="2024-03-19T13:26:27.075" v="1878" actId="478"/>
          <ac:spMkLst>
            <pc:docMk/>
            <pc:sldMk cId="2138114542" sldId="356"/>
            <ac:spMk id="174" creationId="{03C54866-6B8F-76BD-778A-20B1F21B9D3A}"/>
          </ac:spMkLst>
        </pc:spChg>
        <pc:spChg chg="del">
          <ac:chgData name="Wang, Han" userId="9a056b73-0254-4e07-9351-ba9f4ce96737" providerId="ADAL" clId="{BE80FE12-4646-4FA4-A284-ABB4D2A3A409}" dt="2024-03-19T13:26:45.059" v="1882" actId="478"/>
          <ac:spMkLst>
            <pc:docMk/>
            <pc:sldMk cId="2138114542" sldId="356"/>
            <ac:spMk id="175" creationId="{8D334561-188C-2169-71C0-61C864C67BD5}"/>
          </ac:spMkLst>
        </pc:spChg>
        <pc:spChg chg="del">
          <ac:chgData name="Wang, Han" userId="9a056b73-0254-4e07-9351-ba9f4ce96737" providerId="ADAL" clId="{BE80FE12-4646-4FA4-A284-ABB4D2A3A409}" dt="2024-03-19T13:26:51.690" v="1885" actId="478"/>
          <ac:spMkLst>
            <pc:docMk/>
            <pc:sldMk cId="2138114542" sldId="356"/>
            <ac:spMk id="176" creationId="{BE040FB3-8D30-EAED-8035-53CEE921EFEC}"/>
          </ac:spMkLst>
        </pc:spChg>
        <pc:spChg chg="del">
          <ac:chgData name="Wang, Han" userId="9a056b73-0254-4e07-9351-ba9f4ce96737" providerId="ADAL" clId="{BE80FE12-4646-4FA4-A284-ABB4D2A3A409}" dt="2024-03-19T13:26:45.786" v="1883" actId="478"/>
          <ac:spMkLst>
            <pc:docMk/>
            <pc:sldMk cId="2138114542" sldId="356"/>
            <ac:spMk id="178" creationId="{0BB3507C-F394-B786-F84E-F0999D119C2A}"/>
          </ac:spMkLst>
        </pc:spChg>
        <pc:spChg chg="del">
          <ac:chgData name="Wang, Han" userId="9a056b73-0254-4e07-9351-ba9f4ce96737" providerId="ADAL" clId="{BE80FE12-4646-4FA4-A284-ABB4D2A3A409}" dt="2024-03-19T13:26:43.835" v="1881" actId="478"/>
          <ac:spMkLst>
            <pc:docMk/>
            <pc:sldMk cId="2138114542" sldId="356"/>
            <ac:spMk id="179" creationId="{BE8BCD16-D063-39F5-D999-B596BB7BCDB8}"/>
          </ac:spMkLst>
        </pc:spChg>
        <pc:spChg chg="del">
          <ac:chgData name="Wang, Han" userId="9a056b73-0254-4e07-9351-ba9f4ce96737" providerId="ADAL" clId="{BE80FE12-4646-4FA4-A284-ABB4D2A3A409}" dt="2024-03-19T13:26:49.906" v="1884" actId="478"/>
          <ac:spMkLst>
            <pc:docMk/>
            <pc:sldMk cId="2138114542" sldId="356"/>
            <ac:spMk id="180" creationId="{C319DF92-4B89-E5F2-EB18-CA65FC358E37}"/>
          </ac:spMkLst>
        </pc:spChg>
        <pc:spChg chg="del">
          <ac:chgData name="Wang, Han" userId="9a056b73-0254-4e07-9351-ba9f4ce96737" providerId="ADAL" clId="{BE80FE12-4646-4FA4-A284-ABB4D2A3A409}" dt="2024-03-19T13:26:52.914" v="1886" actId="478"/>
          <ac:spMkLst>
            <pc:docMk/>
            <pc:sldMk cId="2138114542" sldId="356"/>
            <ac:spMk id="181" creationId="{A74F6454-98D2-7234-69C4-E9299E12ECC2}"/>
          </ac:spMkLst>
        </pc:spChg>
        <pc:spChg chg="del">
          <ac:chgData name="Wang, Han" userId="9a056b73-0254-4e07-9351-ba9f4ce96737" providerId="ADAL" clId="{BE80FE12-4646-4FA4-A284-ABB4D2A3A409}" dt="2024-03-19T13:26:49.906" v="1884" actId="478"/>
          <ac:spMkLst>
            <pc:docMk/>
            <pc:sldMk cId="2138114542" sldId="356"/>
            <ac:spMk id="182" creationId="{2A2A54AC-293E-0A98-1CB2-CD0350FFDBC0}"/>
          </ac:spMkLst>
        </pc:spChg>
        <pc:spChg chg="del">
          <ac:chgData name="Wang, Han" userId="9a056b73-0254-4e07-9351-ba9f4ce96737" providerId="ADAL" clId="{BE80FE12-4646-4FA4-A284-ABB4D2A3A409}" dt="2024-03-19T13:26:54.179" v="1887" actId="478"/>
          <ac:spMkLst>
            <pc:docMk/>
            <pc:sldMk cId="2138114542" sldId="356"/>
            <ac:spMk id="183" creationId="{7C4CBB4B-EF59-13EB-710C-3FA314AE0F44}"/>
          </ac:spMkLst>
        </pc:spChg>
        <pc:grpChg chg="mod">
          <ac:chgData name="Wang, Han" userId="9a056b73-0254-4e07-9351-ba9f4ce96737" providerId="ADAL" clId="{BE80FE12-4646-4FA4-A284-ABB4D2A3A409}" dt="2024-03-19T13:44:28.432" v="2052" actId="1076"/>
          <ac:grpSpMkLst>
            <pc:docMk/>
            <pc:sldMk cId="2138114542" sldId="356"/>
            <ac:grpSpMk id="10" creationId="{9B021D08-E334-B6A7-9215-0D5DD4CCB92F}"/>
          </ac:grpSpMkLst>
        </pc:grpChg>
        <pc:grpChg chg="mod">
          <ac:chgData name="Wang, Han" userId="9a056b73-0254-4e07-9351-ba9f4ce96737" providerId="ADAL" clId="{BE80FE12-4646-4FA4-A284-ABB4D2A3A409}" dt="2024-03-19T13:44:28.432" v="2052" actId="1076"/>
          <ac:grpSpMkLst>
            <pc:docMk/>
            <pc:sldMk cId="2138114542" sldId="356"/>
            <ac:grpSpMk id="20" creationId="{F5864546-9950-91E9-3E0E-E27552B9C2FE}"/>
          </ac:grpSpMkLst>
        </pc:grpChg>
        <pc:grpChg chg="mod">
          <ac:chgData name="Wang, Han" userId="9a056b73-0254-4e07-9351-ba9f4ce96737" providerId="ADAL" clId="{BE80FE12-4646-4FA4-A284-ABB4D2A3A409}" dt="2024-03-19T13:44:28.432" v="2052" actId="1076"/>
          <ac:grpSpMkLst>
            <pc:docMk/>
            <pc:sldMk cId="2138114542" sldId="356"/>
            <ac:grpSpMk id="58" creationId="{0B7DACB3-E153-4265-CBD9-3115BA241332}"/>
          </ac:grpSpMkLst>
        </pc:grpChg>
        <pc:grpChg chg="mod">
          <ac:chgData name="Wang, Han" userId="9a056b73-0254-4e07-9351-ba9f4ce96737" providerId="ADAL" clId="{BE80FE12-4646-4FA4-A284-ABB4D2A3A409}" dt="2024-03-19T13:28:46.443" v="1899" actId="1076"/>
          <ac:grpSpMkLst>
            <pc:docMk/>
            <pc:sldMk cId="2138114542" sldId="356"/>
            <ac:grpSpMk id="120" creationId="{DC47AB55-48C9-221B-38D0-233640EED48C}"/>
          </ac:grpSpMkLst>
        </pc:grpChg>
        <pc:grpChg chg="mod">
          <ac:chgData name="Wang, Han" userId="9a056b73-0254-4e07-9351-ba9f4ce96737" providerId="ADAL" clId="{BE80FE12-4646-4FA4-A284-ABB4D2A3A409}" dt="2024-03-19T13:28:46.443" v="1899" actId="1076"/>
          <ac:grpSpMkLst>
            <pc:docMk/>
            <pc:sldMk cId="2138114542" sldId="356"/>
            <ac:grpSpMk id="121" creationId="{22730A2F-E16B-DEEB-ECB0-9097AD6F0801}"/>
          </ac:grpSpMkLst>
        </pc:grpChg>
        <pc:grpChg chg="mod">
          <ac:chgData name="Wang, Han" userId="9a056b73-0254-4e07-9351-ba9f4ce96737" providerId="ADAL" clId="{BE80FE12-4646-4FA4-A284-ABB4D2A3A409}" dt="2024-03-19T13:28:46.443" v="1899" actId="1076"/>
          <ac:grpSpMkLst>
            <pc:docMk/>
            <pc:sldMk cId="2138114542" sldId="356"/>
            <ac:grpSpMk id="125" creationId="{A71540AF-0C38-785C-EB3D-439C2C3CF05C}"/>
          </ac:grpSpMkLst>
        </pc:grpChg>
        <pc:grpChg chg="mod">
          <ac:chgData name="Wang, Han" userId="9a056b73-0254-4e07-9351-ba9f4ce96737" providerId="ADAL" clId="{BE80FE12-4646-4FA4-A284-ABB4D2A3A409}" dt="2024-03-19T13:28:46.443" v="1899" actId="1076"/>
          <ac:grpSpMkLst>
            <pc:docMk/>
            <pc:sldMk cId="2138114542" sldId="356"/>
            <ac:grpSpMk id="129" creationId="{19113167-14E6-E5CD-651D-FEFF8C297628}"/>
          </ac:grpSpMkLst>
        </pc:grpChg>
        <pc:cxnChg chg="mod">
          <ac:chgData name="Wang, Han" userId="9a056b73-0254-4e07-9351-ba9f4ce96737" providerId="ADAL" clId="{BE80FE12-4646-4FA4-A284-ABB4D2A3A409}" dt="2024-03-19T13:44:28.432" v="2052" actId="1076"/>
          <ac:cxnSpMkLst>
            <pc:docMk/>
            <pc:sldMk cId="2138114542" sldId="356"/>
            <ac:cxnSpMk id="57" creationId="{585E31A3-8FF8-2A8C-45D6-49D292F7B168}"/>
          </ac:cxnSpMkLst>
        </pc:cxnChg>
        <pc:cxnChg chg="del">
          <ac:chgData name="Wang, Han" userId="9a056b73-0254-4e07-9351-ba9f4ce96737" providerId="ADAL" clId="{BE80FE12-4646-4FA4-A284-ABB4D2A3A409}" dt="2024-03-19T13:26:49.906" v="1884" actId="478"/>
          <ac:cxnSpMkLst>
            <pc:docMk/>
            <pc:sldMk cId="2138114542" sldId="356"/>
            <ac:cxnSpMk id="103" creationId="{3D0BF37A-4BF3-4AA9-86F8-629C48EA72FA}"/>
          </ac:cxnSpMkLst>
        </pc:cxnChg>
        <pc:cxnChg chg="del">
          <ac:chgData name="Wang, Han" userId="9a056b73-0254-4e07-9351-ba9f4ce96737" providerId="ADAL" clId="{BE80FE12-4646-4FA4-A284-ABB4D2A3A409}" dt="2024-03-19T13:26:49.906" v="1884" actId="478"/>
          <ac:cxnSpMkLst>
            <pc:docMk/>
            <pc:sldMk cId="2138114542" sldId="356"/>
            <ac:cxnSpMk id="104" creationId="{DDC815F3-CA42-1914-6614-5E5A886A633C}"/>
          </ac:cxnSpMkLst>
        </pc:cxnChg>
        <pc:cxnChg chg="del">
          <ac:chgData name="Wang, Han" userId="9a056b73-0254-4e07-9351-ba9f4ce96737" providerId="ADAL" clId="{BE80FE12-4646-4FA4-A284-ABB4D2A3A409}" dt="2024-03-19T13:26:49.906" v="1884" actId="478"/>
          <ac:cxnSpMkLst>
            <pc:docMk/>
            <pc:sldMk cId="2138114542" sldId="356"/>
            <ac:cxnSpMk id="105" creationId="{B638F3BC-7AE3-6E88-8F1B-51F1D6790D95}"/>
          </ac:cxnSpMkLst>
        </pc:cxnChg>
        <pc:cxnChg chg="mod">
          <ac:chgData name="Wang, Han" userId="9a056b73-0254-4e07-9351-ba9f4ce96737" providerId="ADAL" clId="{BE80FE12-4646-4FA4-A284-ABB4D2A3A409}" dt="2024-03-19T13:29:40.529" v="1902" actId="1582"/>
          <ac:cxnSpMkLst>
            <pc:docMk/>
            <pc:sldMk cId="2138114542" sldId="356"/>
            <ac:cxnSpMk id="113" creationId="{AA5243F1-A14E-94D1-FEE2-0BA7D66E5C5B}"/>
          </ac:cxnSpMkLst>
        </pc:cxnChg>
        <pc:cxnChg chg="mod">
          <ac:chgData name="Wang, Han" userId="9a056b73-0254-4e07-9351-ba9f4ce96737" providerId="ADAL" clId="{BE80FE12-4646-4FA4-A284-ABB4D2A3A409}" dt="2024-03-19T13:29:40.529" v="1902" actId="1582"/>
          <ac:cxnSpMkLst>
            <pc:docMk/>
            <pc:sldMk cId="2138114542" sldId="356"/>
            <ac:cxnSpMk id="119" creationId="{B5E1C053-2B72-0EAF-6B5B-62C971B72909}"/>
          </ac:cxnSpMkLst>
        </pc:cxnChg>
        <pc:cxnChg chg="mod">
          <ac:chgData name="Wang, Han" userId="9a056b73-0254-4e07-9351-ba9f4ce96737" providerId="ADAL" clId="{BE80FE12-4646-4FA4-A284-ABB4D2A3A409}" dt="2024-03-19T13:29:40.529" v="1902" actId="1582"/>
          <ac:cxnSpMkLst>
            <pc:docMk/>
            <pc:sldMk cId="2138114542" sldId="356"/>
            <ac:cxnSpMk id="122" creationId="{F81D5510-7A5C-B655-39C8-5D88CBC274DB}"/>
          </ac:cxnSpMkLst>
        </pc:cxnChg>
        <pc:cxnChg chg="mod">
          <ac:chgData name="Wang, Han" userId="9a056b73-0254-4e07-9351-ba9f4ce96737" providerId="ADAL" clId="{BE80FE12-4646-4FA4-A284-ABB4D2A3A409}" dt="2024-03-19T13:29:40.529" v="1902" actId="1582"/>
          <ac:cxnSpMkLst>
            <pc:docMk/>
            <pc:sldMk cId="2138114542" sldId="356"/>
            <ac:cxnSpMk id="124" creationId="{C002D36A-10CC-AE8E-8CAD-442BCC235D15}"/>
          </ac:cxnSpMkLst>
        </pc:cxnChg>
        <pc:cxnChg chg="mod">
          <ac:chgData name="Wang, Han" userId="9a056b73-0254-4e07-9351-ba9f4ce96737" providerId="ADAL" clId="{BE80FE12-4646-4FA4-A284-ABB4D2A3A409}" dt="2024-03-19T13:29:40.529" v="1902" actId="1582"/>
          <ac:cxnSpMkLst>
            <pc:docMk/>
            <pc:sldMk cId="2138114542" sldId="356"/>
            <ac:cxnSpMk id="126" creationId="{18F6F0DF-16CF-7B21-BF39-D1C8E83981AA}"/>
          </ac:cxnSpMkLst>
        </pc:cxnChg>
        <pc:cxnChg chg="mod">
          <ac:chgData name="Wang, Han" userId="9a056b73-0254-4e07-9351-ba9f4ce96737" providerId="ADAL" clId="{BE80FE12-4646-4FA4-A284-ABB4D2A3A409}" dt="2024-03-19T13:29:40.529" v="1902" actId="1582"/>
          <ac:cxnSpMkLst>
            <pc:docMk/>
            <pc:sldMk cId="2138114542" sldId="356"/>
            <ac:cxnSpMk id="128" creationId="{C908AA8E-B4D3-C2D8-9119-D4510345759F}"/>
          </ac:cxnSpMkLst>
        </pc:cxnChg>
        <pc:cxnChg chg="mod">
          <ac:chgData name="Wang, Han" userId="9a056b73-0254-4e07-9351-ba9f4ce96737" providerId="ADAL" clId="{BE80FE12-4646-4FA4-A284-ABB4D2A3A409}" dt="2024-03-19T13:29:40.529" v="1902" actId="1582"/>
          <ac:cxnSpMkLst>
            <pc:docMk/>
            <pc:sldMk cId="2138114542" sldId="356"/>
            <ac:cxnSpMk id="130" creationId="{1070C2B7-1E10-7EF9-E3F4-1ADBF770ECCB}"/>
          </ac:cxnSpMkLst>
        </pc:cxnChg>
        <pc:cxnChg chg="mod">
          <ac:chgData name="Wang, Han" userId="9a056b73-0254-4e07-9351-ba9f4ce96737" providerId="ADAL" clId="{BE80FE12-4646-4FA4-A284-ABB4D2A3A409}" dt="2024-03-19T13:29:40.529" v="1902" actId="1582"/>
          <ac:cxnSpMkLst>
            <pc:docMk/>
            <pc:sldMk cId="2138114542" sldId="356"/>
            <ac:cxnSpMk id="132" creationId="{74C6F6E4-EC1A-D24D-F631-DCD587A818E1}"/>
          </ac:cxnSpMkLst>
        </pc:cxnChg>
        <pc:cxnChg chg="mod">
          <ac:chgData name="Wang, Han" userId="9a056b73-0254-4e07-9351-ba9f4ce96737" providerId="ADAL" clId="{BE80FE12-4646-4FA4-A284-ABB4D2A3A409}" dt="2024-03-19T13:31:47.829" v="1916" actId="1076"/>
          <ac:cxnSpMkLst>
            <pc:docMk/>
            <pc:sldMk cId="2138114542" sldId="356"/>
            <ac:cxnSpMk id="170" creationId="{3F7077B0-8ADF-4159-EFC7-D2B6CBD2BAF2}"/>
          </ac:cxnSpMkLst>
        </pc:cxnChg>
      </pc:sldChg>
      <pc:sldChg chg="addSp delSp modSp new mod ord modClrScheme chgLayout">
        <pc:chgData name="Wang, Han" userId="9a056b73-0254-4e07-9351-ba9f4ce96737" providerId="ADAL" clId="{BE80FE12-4646-4FA4-A284-ABB4D2A3A409}" dt="2024-04-11T12:55:30.194" v="6557"/>
        <pc:sldMkLst>
          <pc:docMk/>
          <pc:sldMk cId="269300543" sldId="357"/>
        </pc:sldMkLst>
        <pc:spChg chg="del mod ord">
          <ac:chgData name="Wang, Han" userId="9a056b73-0254-4e07-9351-ba9f4ce96737" providerId="ADAL" clId="{BE80FE12-4646-4FA4-A284-ABB4D2A3A409}" dt="2024-03-19T14:02:43.231" v="2168" actId="700"/>
          <ac:spMkLst>
            <pc:docMk/>
            <pc:sldMk cId="269300543" sldId="357"/>
            <ac:spMk id="2" creationId="{30262463-1DEF-60DE-7C54-15D644A16F31}"/>
          </ac:spMkLst>
        </pc:spChg>
        <pc:spChg chg="mod ord">
          <ac:chgData name="Wang, Han" userId="9a056b73-0254-4e07-9351-ba9f4ce96737" providerId="ADAL" clId="{BE80FE12-4646-4FA4-A284-ABB4D2A3A409}" dt="2024-03-19T14:02:43.231" v="2168" actId="700"/>
          <ac:spMkLst>
            <pc:docMk/>
            <pc:sldMk cId="269300543" sldId="357"/>
            <ac:spMk id="3" creationId="{D679B4E1-EF80-91D1-322B-964AC9145797}"/>
          </ac:spMkLst>
        </pc:spChg>
        <pc:spChg chg="mod ord">
          <ac:chgData name="Wang, Han" userId="9a056b73-0254-4e07-9351-ba9f4ce96737" providerId="ADAL" clId="{BE80FE12-4646-4FA4-A284-ABB4D2A3A409}" dt="2024-03-19T14:02:43.231" v="2168" actId="700"/>
          <ac:spMkLst>
            <pc:docMk/>
            <pc:sldMk cId="269300543" sldId="357"/>
            <ac:spMk id="4" creationId="{CB2BBC69-66C3-449B-6377-BBA55A708A25}"/>
          </ac:spMkLst>
        </pc:spChg>
        <pc:spChg chg="mod ord">
          <ac:chgData name="Wang, Han" userId="9a056b73-0254-4e07-9351-ba9f4ce96737" providerId="ADAL" clId="{BE80FE12-4646-4FA4-A284-ABB4D2A3A409}" dt="2024-03-19T14:02:43.231" v="2168" actId="700"/>
          <ac:spMkLst>
            <pc:docMk/>
            <pc:sldMk cId="269300543" sldId="357"/>
            <ac:spMk id="5" creationId="{D8F67081-9FAA-82ED-10C9-B9A0106A1745}"/>
          </ac:spMkLst>
        </pc:spChg>
        <pc:spChg chg="del mod ord">
          <ac:chgData name="Wang, Han" userId="9a056b73-0254-4e07-9351-ba9f4ce96737" providerId="ADAL" clId="{BE80FE12-4646-4FA4-A284-ABB4D2A3A409}" dt="2024-03-19T14:02:43.231" v="2168" actId="700"/>
          <ac:spMkLst>
            <pc:docMk/>
            <pc:sldMk cId="269300543" sldId="357"/>
            <ac:spMk id="6" creationId="{7DACFF80-BD1B-FF82-559B-6062146682AB}"/>
          </ac:spMkLst>
        </pc:spChg>
        <pc:spChg chg="del mod ord">
          <ac:chgData name="Wang, Han" userId="9a056b73-0254-4e07-9351-ba9f4ce96737" providerId="ADAL" clId="{BE80FE12-4646-4FA4-A284-ABB4D2A3A409}" dt="2024-03-19T14:02:43.231" v="2168" actId="700"/>
          <ac:spMkLst>
            <pc:docMk/>
            <pc:sldMk cId="269300543" sldId="357"/>
            <ac:spMk id="7" creationId="{9A677577-425C-B8C2-5053-971908E9106B}"/>
          </ac:spMkLst>
        </pc:spChg>
        <pc:spChg chg="del">
          <ac:chgData name="Wang, Han" userId="9a056b73-0254-4e07-9351-ba9f4ce96737" providerId="ADAL" clId="{BE80FE12-4646-4FA4-A284-ABB4D2A3A409}" dt="2024-03-19T14:02:43.231" v="2168" actId="700"/>
          <ac:spMkLst>
            <pc:docMk/>
            <pc:sldMk cId="269300543" sldId="357"/>
            <ac:spMk id="8" creationId="{B17B44E2-58DD-F0E4-6542-4DFD457FD124}"/>
          </ac:spMkLst>
        </pc:spChg>
        <pc:spChg chg="add mod ord">
          <ac:chgData name="Wang, Han" userId="9a056b73-0254-4e07-9351-ba9f4ce96737" providerId="ADAL" clId="{BE80FE12-4646-4FA4-A284-ABB4D2A3A409}" dt="2024-03-19T14:04:02.414" v="2198" actId="20577"/>
          <ac:spMkLst>
            <pc:docMk/>
            <pc:sldMk cId="269300543" sldId="357"/>
            <ac:spMk id="9" creationId="{F927DF6E-14A7-09B1-AF40-4B7DDC511704}"/>
          </ac:spMkLst>
        </pc:spChg>
        <pc:spChg chg="add mod ord">
          <ac:chgData name="Wang, Han" userId="9a056b73-0254-4e07-9351-ba9f4ce96737" providerId="ADAL" clId="{BE80FE12-4646-4FA4-A284-ABB4D2A3A409}" dt="2024-03-19T14:07:45.782" v="2299" actId="20577"/>
          <ac:spMkLst>
            <pc:docMk/>
            <pc:sldMk cId="269300543" sldId="357"/>
            <ac:spMk id="10" creationId="{62246DDD-4762-1E85-B026-E46EF7504916}"/>
          </ac:spMkLst>
        </pc:spChg>
        <pc:spChg chg="add del mod ord">
          <ac:chgData name="Wang, Han" userId="9a056b73-0254-4e07-9351-ba9f4ce96737" providerId="ADAL" clId="{BE80FE12-4646-4FA4-A284-ABB4D2A3A409}" dt="2024-03-19T14:02:47.223" v="2169" actId="478"/>
          <ac:spMkLst>
            <pc:docMk/>
            <pc:sldMk cId="269300543" sldId="357"/>
            <ac:spMk id="11" creationId="{7DBA0322-D5AD-43C1-DC5F-F7A3E33D8BB8}"/>
          </ac:spMkLst>
        </pc:spChg>
        <pc:spChg chg="add del mod">
          <ac:chgData name="Wang, Han" userId="9a056b73-0254-4e07-9351-ba9f4ce96737" providerId="ADAL" clId="{BE80FE12-4646-4FA4-A284-ABB4D2A3A409}" dt="2024-03-19T14:06:23.902" v="2290" actId="478"/>
          <ac:spMkLst>
            <pc:docMk/>
            <pc:sldMk cId="269300543" sldId="357"/>
            <ac:spMk id="12" creationId="{70B33B18-E895-E158-EEE3-61DBA983E994}"/>
          </ac:spMkLst>
        </pc:spChg>
        <pc:spChg chg="add del mod">
          <ac:chgData name="Wang, Han" userId="9a056b73-0254-4e07-9351-ba9f4ce96737" providerId="ADAL" clId="{BE80FE12-4646-4FA4-A284-ABB4D2A3A409}" dt="2024-03-19T14:06:23.902" v="2290" actId="478"/>
          <ac:spMkLst>
            <pc:docMk/>
            <pc:sldMk cId="269300543" sldId="357"/>
            <ac:spMk id="13" creationId="{5C564CD9-1516-EFDC-C708-693FB17A07F1}"/>
          </ac:spMkLst>
        </pc:spChg>
        <pc:spChg chg="add del mod">
          <ac:chgData name="Wang, Han" userId="9a056b73-0254-4e07-9351-ba9f4ce96737" providerId="ADAL" clId="{BE80FE12-4646-4FA4-A284-ABB4D2A3A409}" dt="2024-03-19T14:06:23.902" v="2290" actId="478"/>
          <ac:spMkLst>
            <pc:docMk/>
            <pc:sldMk cId="269300543" sldId="357"/>
            <ac:spMk id="14" creationId="{22587FE0-245A-CFB1-F670-84D727504166}"/>
          </ac:spMkLst>
        </pc:spChg>
        <pc:spChg chg="add del mod">
          <ac:chgData name="Wang, Han" userId="9a056b73-0254-4e07-9351-ba9f4ce96737" providerId="ADAL" clId="{BE80FE12-4646-4FA4-A284-ABB4D2A3A409}" dt="2024-03-19T14:06:23.902" v="2290" actId="478"/>
          <ac:spMkLst>
            <pc:docMk/>
            <pc:sldMk cId="269300543" sldId="357"/>
            <ac:spMk id="15" creationId="{C47267D4-62A1-7B39-D3C1-278D31CC0362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16" creationId="{2179241C-1EA6-AC31-C40F-242AC23448F7}"/>
          </ac:spMkLst>
        </pc:spChg>
        <pc:spChg chg="add del mod">
          <ac:chgData name="Wang, Han" userId="9a056b73-0254-4e07-9351-ba9f4ce96737" providerId="ADAL" clId="{BE80FE12-4646-4FA4-A284-ABB4D2A3A409}" dt="2024-03-19T14:26:43.139" v="2600" actId="478"/>
          <ac:spMkLst>
            <pc:docMk/>
            <pc:sldMk cId="269300543" sldId="357"/>
            <ac:spMk id="17" creationId="{EE3247D4-E9E7-D7BC-6889-6C1FE1333F58}"/>
          </ac:spMkLst>
        </pc:spChg>
        <pc:spChg chg="add del mod">
          <ac:chgData name="Wang, Han" userId="9a056b73-0254-4e07-9351-ba9f4ce96737" providerId="ADAL" clId="{BE80FE12-4646-4FA4-A284-ABB4D2A3A409}" dt="2024-03-19T14:26:42.300" v="2599" actId="478"/>
          <ac:spMkLst>
            <pc:docMk/>
            <pc:sldMk cId="269300543" sldId="357"/>
            <ac:spMk id="18" creationId="{8D6455C3-AF95-5897-4E1D-12A4B964BC55}"/>
          </ac:spMkLst>
        </pc:spChg>
        <pc:spChg chg="add del mod">
          <ac:chgData name="Wang, Han" userId="9a056b73-0254-4e07-9351-ba9f4ce96737" providerId="ADAL" clId="{BE80FE12-4646-4FA4-A284-ABB4D2A3A409}" dt="2024-03-19T14:26:43.835" v="2601" actId="478"/>
          <ac:spMkLst>
            <pc:docMk/>
            <pc:sldMk cId="269300543" sldId="357"/>
            <ac:spMk id="19" creationId="{91291ACA-F455-7407-7106-FD78D021B314}"/>
          </ac:spMkLst>
        </pc:spChg>
        <pc:spChg chg="add del mod">
          <ac:chgData name="Wang, Han" userId="9a056b73-0254-4e07-9351-ba9f4ce96737" providerId="ADAL" clId="{BE80FE12-4646-4FA4-A284-ABB4D2A3A409}" dt="2024-03-19T14:26:45.363" v="2602" actId="478"/>
          <ac:spMkLst>
            <pc:docMk/>
            <pc:sldMk cId="269300543" sldId="357"/>
            <ac:spMk id="20" creationId="{3F5A5B85-18A0-5774-ABE6-C8D08A329614}"/>
          </ac:spMkLst>
        </pc:spChg>
        <pc:spChg chg="add del mod">
          <ac:chgData name="Wang, Han" userId="9a056b73-0254-4e07-9351-ba9f4ce96737" providerId="ADAL" clId="{BE80FE12-4646-4FA4-A284-ABB4D2A3A409}" dt="2024-03-19T14:31:13.852" v="2681" actId="478"/>
          <ac:spMkLst>
            <pc:docMk/>
            <pc:sldMk cId="269300543" sldId="357"/>
            <ac:spMk id="21" creationId="{94D1BE96-28BB-B543-53F8-29F2B84DCFD8}"/>
          </ac:spMkLst>
        </pc:spChg>
        <pc:spChg chg="add del mod">
          <ac:chgData name="Wang, Han" userId="9a056b73-0254-4e07-9351-ba9f4ce96737" providerId="ADAL" clId="{BE80FE12-4646-4FA4-A284-ABB4D2A3A409}" dt="2024-03-19T14:26:40.915" v="2598" actId="478"/>
          <ac:spMkLst>
            <pc:docMk/>
            <pc:sldMk cId="269300543" sldId="357"/>
            <ac:spMk id="22" creationId="{BB926C01-C560-2D27-0BAE-05E3205E1C08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23" creationId="{A62F4195-ADDC-70CD-D092-D1CF8DA800DA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24" creationId="{67D93728-75E4-0B1C-4FEE-F395B3E911C9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25" creationId="{3C46614F-705D-8AA3-932F-4DAA820E433C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26" creationId="{C7602DB4-08A0-55E9-92D5-7C4C0669905A}"/>
          </ac:spMkLst>
        </pc:spChg>
        <pc:spChg chg="add del mod">
          <ac:chgData name="Wang, Han" userId="9a056b73-0254-4e07-9351-ba9f4ce96737" providerId="ADAL" clId="{BE80FE12-4646-4FA4-A284-ABB4D2A3A409}" dt="2024-03-19T14:31:18.478" v="2684" actId="478"/>
          <ac:spMkLst>
            <pc:docMk/>
            <pc:sldMk cId="269300543" sldId="357"/>
            <ac:spMk id="27" creationId="{5A9C000D-7B05-EE5A-1A86-D86A9803632D}"/>
          </ac:spMkLst>
        </pc:spChg>
        <pc:spChg chg="add del mod">
          <ac:chgData name="Wang, Han" userId="9a056b73-0254-4e07-9351-ba9f4ce96737" providerId="ADAL" clId="{BE80FE12-4646-4FA4-A284-ABB4D2A3A409}" dt="2024-03-19T14:31:17.509" v="2683" actId="478"/>
          <ac:spMkLst>
            <pc:docMk/>
            <pc:sldMk cId="269300543" sldId="357"/>
            <ac:spMk id="28" creationId="{C59ABA26-CB30-9164-13E4-B201605D259F}"/>
          </ac:spMkLst>
        </pc:spChg>
        <pc:spChg chg="add del mod">
          <ac:chgData name="Wang, Han" userId="9a056b73-0254-4e07-9351-ba9f4ce96737" providerId="ADAL" clId="{BE80FE12-4646-4FA4-A284-ABB4D2A3A409}" dt="2024-03-19T14:31:15.496" v="2682" actId="478"/>
          <ac:spMkLst>
            <pc:docMk/>
            <pc:sldMk cId="269300543" sldId="357"/>
            <ac:spMk id="29" creationId="{9213B74F-B289-783A-5835-687C57CFE1F9}"/>
          </ac:spMkLst>
        </pc:spChg>
        <pc:spChg chg="add del mod or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30" creationId="{81DD794B-77DD-410C-7C47-DE54F6999965}"/>
          </ac:spMkLst>
        </pc:spChg>
        <pc:spChg chg="add del mod">
          <ac:chgData name="Wang, Han" userId="9a056b73-0254-4e07-9351-ba9f4ce96737" providerId="ADAL" clId="{BE80FE12-4646-4FA4-A284-ABB4D2A3A409}" dt="2024-03-19T14:26:39.708" v="2597" actId="478"/>
          <ac:spMkLst>
            <pc:docMk/>
            <pc:sldMk cId="269300543" sldId="357"/>
            <ac:spMk id="31" creationId="{D086FA37-14A9-79E9-14CD-D98418CCDB5A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32" creationId="{068CAC03-9F26-D594-B3E0-9213151ED603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33" creationId="{0BDB17EE-87E6-0735-4847-A63947BAD6C8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34" creationId="{B0FDFC80-519D-9041-AB36-272DF2810379}"/>
          </ac:spMkLst>
        </pc:spChg>
        <pc:spChg chg="add mod">
          <ac:chgData name="Wang, Han" userId="9a056b73-0254-4e07-9351-ba9f4ce96737" providerId="ADAL" clId="{BE80FE12-4646-4FA4-A284-ABB4D2A3A409}" dt="2024-03-19T14:40:51.152" v="2710" actId="1076"/>
          <ac:spMkLst>
            <pc:docMk/>
            <pc:sldMk cId="269300543" sldId="357"/>
            <ac:spMk id="36" creationId="{7F1BFF5A-E2C5-5B36-1182-61220EC5B5F3}"/>
          </ac:spMkLst>
        </pc:spChg>
        <pc:spChg chg="add del mod">
          <ac:chgData name="Wang, Han" userId="9a056b73-0254-4e07-9351-ba9f4ce96737" providerId="ADAL" clId="{BE80FE12-4646-4FA4-A284-ABB4D2A3A409}" dt="2024-03-19T14:31:44.492" v="2688" actId="478"/>
          <ac:spMkLst>
            <pc:docMk/>
            <pc:sldMk cId="269300543" sldId="357"/>
            <ac:spMk id="38" creationId="{5C0C66D5-CB9E-0520-B5B2-6CBC0D00E1F1}"/>
          </ac:spMkLst>
        </pc:spChg>
        <pc:spChg chg="add del mod">
          <ac:chgData name="Wang, Han" userId="9a056b73-0254-4e07-9351-ba9f4ce96737" providerId="ADAL" clId="{BE80FE12-4646-4FA4-A284-ABB4D2A3A409}" dt="2024-03-19T14:28:34.379" v="2653" actId="478"/>
          <ac:spMkLst>
            <pc:docMk/>
            <pc:sldMk cId="269300543" sldId="357"/>
            <ac:spMk id="40" creationId="{8FDF5DD4-5540-97E3-A68B-73CAC66D2525}"/>
          </ac:spMkLst>
        </pc:spChg>
        <pc:spChg chg="add del mod">
          <ac:chgData name="Wang, Han" userId="9a056b73-0254-4e07-9351-ba9f4ce96737" providerId="ADAL" clId="{BE80FE12-4646-4FA4-A284-ABB4D2A3A409}" dt="2024-03-19T14:28:33.163" v="2652" actId="478"/>
          <ac:spMkLst>
            <pc:docMk/>
            <pc:sldMk cId="269300543" sldId="357"/>
            <ac:spMk id="41" creationId="{AC7E3195-647C-5FCE-9C8E-FDED226DC2F9}"/>
          </ac:spMkLst>
        </pc:spChg>
        <pc:spChg chg="add del mod">
          <ac:chgData name="Wang, Han" userId="9a056b73-0254-4e07-9351-ba9f4ce96737" providerId="ADAL" clId="{BE80FE12-4646-4FA4-A284-ABB4D2A3A409}" dt="2024-03-19T14:28:35.170" v="2654" actId="478"/>
          <ac:spMkLst>
            <pc:docMk/>
            <pc:sldMk cId="269300543" sldId="357"/>
            <ac:spMk id="42" creationId="{98218DF3-D0C8-F8C2-9450-4B6BA0959108}"/>
          </ac:spMkLst>
        </pc:spChg>
        <pc:spChg chg="add del mod">
          <ac:chgData name="Wang, Han" userId="9a056b73-0254-4e07-9351-ba9f4ce96737" providerId="ADAL" clId="{BE80FE12-4646-4FA4-A284-ABB4D2A3A409}" dt="2024-03-19T14:28:31.668" v="2651" actId="478"/>
          <ac:spMkLst>
            <pc:docMk/>
            <pc:sldMk cId="269300543" sldId="357"/>
            <ac:spMk id="43" creationId="{2439067B-E4EB-50DD-4BE7-44BA12F607A4}"/>
          </ac:spMkLst>
        </pc:spChg>
        <pc:spChg chg="add del mod">
          <ac:chgData name="Wang, Han" userId="9a056b73-0254-4e07-9351-ba9f4ce96737" providerId="ADAL" clId="{BE80FE12-4646-4FA4-A284-ABB4D2A3A409}" dt="2024-03-19T14:28:30.939" v="2650" actId="478"/>
          <ac:spMkLst>
            <pc:docMk/>
            <pc:sldMk cId="269300543" sldId="357"/>
            <ac:spMk id="44" creationId="{D2E72007-AF42-B854-C34A-CDE5A71F933F}"/>
          </ac:spMkLst>
        </pc:spChg>
        <pc:spChg chg="add del mod">
          <ac:chgData name="Wang, Han" userId="9a056b73-0254-4e07-9351-ba9f4ce96737" providerId="ADAL" clId="{BE80FE12-4646-4FA4-A284-ABB4D2A3A409}" dt="2024-03-19T14:28:47.643" v="2656" actId="478"/>
          <ac:spMkLst>
            <pc:docMk/>
            <pc:sldMk cId="269300543" sldId="357"/>
            <ac:spMk id="45" creationId="{3A0995F9-EA51-8217-C879-42DCD9230DF6}"/>
          </ac:spMkLst>
        </pc:spChg>
        <pc:spChg chg="add del mod">
          <ac:chgData name="Wang, Han" userId="9a056b73-0254-4e07-9351-ba9f4ce96737" providerId="ADAL" clId="{BE80FE12-4646-4FA4-A284-ABB4D2A3A409}" dt="2024-03-19T14:29:00.315" v="2663" actId="478"/>
          <ac:spMkLst>
            <pc:docMk/>
            <pc:sldMk cId="269300543" sldId="357"/>
            <ac:spMk id="46" creationId="{3E4C6F9D-6498-CE1D-6C9F-368E1C5154CE}"/>
          </ac:spMkLst>
        </pc:spChg>
        <pc:spChg chg="add del mod">
          <ac:chgData name="Wang, Han" userId="9a056b73-0254-4e07-9351-ba9f4ce96737" providerId="ADAL" clId="{BE80FE12-4646-4FA4-A284-ABB4D2A3A409}" dt="2024-03-19T14:28:49.658" v="2657" actId="478"/>
          <ac:spMkLst>
            <pc:docMk/>
            <pc:sldMk cId="269300543" sldId="357"/>
            <ac:spMk id="47" creationId="{90BD8AAD-29F4-DC27-D542-B3EE87B0CC17}"/>
          </ac:spMkLst>
        </pc:spChg>
        <pc:spChg chg="add del mod">
          <ac:chgData name="Wang, Han" userId="9a056b73-0254-4e07-9351-ba9f4ce96737" providerId="ADAL" clId="{BE80FE12-4646-4FA4-A284-ABB4D2A3A409}" dt="2024-03-19T14:28:58.459" v="2662" actId="478"/>
          <ac:spMkLst>
            <pc:docMk/>
            <pc:sldMk cId="269300543" sldId="357"/>
            <ac:spMk id="48" creationId="{16FC2963-4D4D-18AC-38E3-FE3784715C92}"/>
          </ac:spMkLst>
        </pc:spChg>
        <pc:spChg chg="add del mod">
          <ac:chgData name="Wang, Han" userId="9a056b73-0254-4e07-9351-ba9f4ce96737" providerId="ADAL" clId="{BE80FE12-4646-4FA4-A284-ABB4D2A3A409}" dt="2024-03-19T14:28:57.507" v="2661" actId="478"/>
          <ac:spMkLst>
            <pc:docMk/>
            <pc:sldMk cId="269300543" sldId="357"/>
            <ac:spMk id="49" creationId="{986C0C0A-589A-F101-5C38-9ED7B592482D}"/>
          </ac:spMkLst>
        </pc:spChg>
        <pc:spChg chg="add del mod">
          <ac:chgData name="Wang, Han" userId="9a056b73-0254-4e07-9351-ba9f4ce96737" providerId="ADAL" clId="{BE80FE12-4646-4FA4-A284-ABB4D2A3A409}" dt="2024-03-19T14:28:56.788" v="2660" actId="478"/>
          <ac:spMkLst>
            <pc:docMk/>
            <pc:sldMk cId="269300543" sldId="357"/>
            <ac:spMk id="50" creationId="{862D17C8-7970-3EDC-987E-F7B9C3DA9EAC}"/>
          </ac:spMkLst>
        </pc:spChg>
        <pc:spChg chg="add del mod">
          <ac:chgData name="Wang, Han" userId="9a056b73-0254-4e07-9351-ba9f4ce96737" providerId="ADAL" clId="{BE80FE12-4646-4FA4-A284-ABB4D2A3A409}" dt="2024-03-19T14:29:01.091" v="2664" actId="478"/>
          <ac:spMkLst>
            <pc:docMk/>
            <pc:sldMk cId="269300543" sldId="357"/>
            <ac:spMk id="51" creationId="{C4FCF122-1666-7019-A282-CB9D2AE93699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55" creationId="{D7112ACB-4131-A4F6-0069-5D6455116954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56" creationId="{9A16A112-2A4B-753B-F0F0-3B8C033D6EFF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57" creationId="{7BBA6B68-3603-C27C-2B79-7D853E7BB88C}"/>
          </ac:spMkLst>
        </pc:spChg>
        <pc:spChg chg="add mo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58" creationId="{06EB5E4A-74D8-F65C-D5FC-91DC175FC243}"/>
          </ac:spMkLst>
        </pc:spChg>
        <pc:spChg chg="add del mod">
          <ac:chgData name="Wang, Han" userId="9a056b73-0254-4e07-9351-ba9f4ce96737" providerId="ADAL" clId="{BE80FE12-4646-4FA4-A284-ABB4D2A3A409}" dt="2024-03-19T14:27:45.780" v="2641" actId="478"/>
          <ac:spMkLst>
            <pc:docMk/>
            <pc:sldMk cId="269300543" sldId="357"/>
            <ac:spMk id="61" creationId="{36834706-E45F-DB25-3D4D-C61ACFBD24E8}"/>
          </ac:spMkLst>
        </pc:spChg>
        <pc:spChg chg="add mod ord">
          <ac:chgData name="Wang, Han" userId="9a056b73-0254-4e07-9351-ba9f4ce96737" providerId="ADAL" clId="{BE80FE12-4646-4FA4-A284-ABB4D2A3A409}" dt="2024-03-19T14:40:31.142" v="2707" actId="1076"/>
          <ac:spMkLst>
            <pc:docMk/>
            <pc:sldMk cId="269300543" sldId="357"/>
            <ac:spMk id="63" creationId="{6402EF74-9507-74F8-79CC-C118944BEFD7}"/>
          </ac:spMkLst>
        </pc:spChg>
        <pc:spChg chg="add mod">
          <ac:chgData name="Wang, Han" userId="9a056b73-0254-4e07-9351-ba9f4ce96737" providerId="ADAL" clId="{BE80FE12-4646-4FA4-A284-ABB4D2A3A409}" dt="2024-03-19T14:41:45.247" v="2721" actId="14100"/>
          <ac:spMkLst>
            <pc:docMk/>
            <pc:sldMk cId="269300543" sldId="357"/>
            <ac:spMk id="64" creationId="{55A7CE7E-3DAD-0877-28E6-D21C3D4BEFC6}"/>
          </ac:spMkLst>
        </pc:spChg>
        <pc:spChg chg="add mod">
          <ac:chgData name="Wang, Han" userId="9a056b73-0254-4e07-9351-ba9f4ce96737" providerId="ADAL" clId="{BE80FE12-4646-4FA4-A284-ABB4D2A3A409}" dt="2024-03-19T14:42:01.983" v="2722" actId="1076"/>
          <ac:spMkLst>
            <pc:docMk/>
            <pc:sldMk cId="269300543" sldId="357"/>
            <ac:spMk id="65" creationId="{2B46F115-6A0A-023B-9F1B-8BF1B2E67E53}"/>
          </ac:spMkLst>
        </pc:spChg>
        <pc:spChg chg="add mod">
          <ac:chgData name="Wang, Han" userId="9a056b73-0254-4e07-9351-ba9f4ce96737" providerId="ADAL" clId="{BE80FE12-4646-4FA4-A284-ABB4D2A3A409}" dt="2024-03-19T14:46:06.149" v="2736" actId="1582"/>
          <ac:spMkLst>
            <pc:docMk/>
            <pc:sldMk cId="269300543" sldId="357"/>
            <ac:spMk id="74" creationId="{A09A5C95-A926-D6D7-1991-B353281FFBF2}"/>
          </ac:spMkLst>
        </pc:spChg>
        <pc:spChg chg="add del mod">
          <ac:chgData name="Wang, Han" userId="9a056b73-0254-4e07-9351-ba9f4ce96737" providerId="ADAL" clId="{BE80FE12-4646-4FA4-A284-ABB4D2A3A409}" dt="2024-03-19T14:46:46.122" v="2742" actId="478"/>
          <ac:spMkLst>
            <pc:docMk/>
            <pc:sldMk cId="269300543" sldId="357"/>
            <ac:spMk id="75" creationId="{11FD0965-7FFF-AD15-F71F-B92D49B65D29}"/>
          </ac:spMkLst>
        </pc:spChg>
        <pc:spChg chg="add mod">
          <ac:chgData name="Wang, Han" userId="9a056b73-0254-4e07-9351-ba9f4ce96737" providerId="ADAL" clId="{BE80FE12-4646-4FA4-A284-ABB4D2A3A409}" dt="2024-03-19T14:52:40.962" v="2838" actId="1076"/>
          <ac:spMkLst>
            <pc:docMk/>
            <pc:sldMk cId="269300543" sldId="357"/>
            <ac:spMk id="76" creationId="{A4751AFA-E1B0-4518-19EB-6964EA8FFFB8}"/>
          </ac:spMkLst>
        </pc:spChg>
        <pc:spChg chg="add mod">
          <ac:chgData name="Wang, Han" userId="9a056b73-0254-4e07-9351-ba9f4ce96737" providerId="ADAL" clId="{BE80FE12-4646-4FA4-A284-ABB4D2A3A409}" dt="2024-03-19T14:51:59.325" v="2815" actId="1076"/>
          <ac:spMkLst>
            <pc:docMk/>
            <pc:sldMk cId="269300543" sldId="357"/>
            <ac:spMk id="77" creationId="{5FED56DA-D8D8-BF8C-EB09-289AE1C8416A}"/>
          </ac:spMkLst>
        </pc:spChg>
        <pc:spChg chg="add del mod">
          <ac:chgData name="Wang, Han" userId="9a056b73-0254-4e07-9351-ba9f4ce96737" providerId="ADAL" clId="{BE80FE12-4646-4FA4-A284-ABB4D2A3A409}" dt="2024-03-19T14:50:57.536" v="2808" actId="478"/>
          <ac:spMkLst>
            <pc:docMk/>
            <pc:sldMk cId="269300543" sldId="357"/>
            <ac:spMk id="78" creationId="{DC91BA04-F3C9-1A11-2768-283293E7395A}"/>
          </ac:spMkLst>
        </pc:spChg>
        <pc:spChg chg="add mod ord">
          <ac:chgData name="Wang, Han" userId="9a056b73-0254-4e07-9351-ba9f4ce96737" providerId="ADAL" clId="{BE80FE12-4646-4FA4-A284-ABB4D2A3A409}" dt="2024-03-19T14:52:40.962" v="2838" actId="1076"/>
          <ac:spMkLst>
            <pc:docMk/>
            <pc:sldMk cId="269300543" sldId="357"/>
            <ac:spMk id="79" creationId="{21565E06-5A79-9F94-DBC3-4DEED716B2E9}"/>
          </ac:spMkLst>
        </pc:spChg>
        <pc:spChg chg="add mod">
          <ac:chgData name="Wang, Han" userId="9a056b73-0254-4e07-9351-ba9f4ce96737" providerId="ADAL" clId="{BE80FE12-4646-4FA4-A284-ABB4D2A3A409}" dt="2024-03-19T14:52:32.986" v="2837" actId="1076"/>
          <ac:spMkLst>
            <pc:docMk/>
            <pc:sldMk cId="269300543" sldId="357"/>
            <ac:spMk id="80" creationId="{B6E90069-1B2D-6797-963B-4D6EB67C96C3}"/>
          </ac:spMkLst>
        </pc:spChg>
        <pc:cxnChg chg="add mod">
          <ac:chgData name="Wang, Han" userId="9a056b73-0254-4e07-9351-ba9f4ce96737" providerId="ADAL" clId="{BE80FE12-4646-4FA4-A284-ABB4D2A3A409}" dt="2024-03-19T14:40:47.305" v="2709" actId="1076"/>
          <ac:cxnSpMkLst>
            <pc:docMk/>
            <pc:sldMk cId="269300543" sldId="357"/>
            <ac:cxnSpMk id="35" creationId="{9176F5AE-7721-4D6B-A052-EE57B6AF615A}"/>
          </ac:cxnSpMkLst>
        </pc:cxnChg>
        <pc:cxnChg chg="add del mod">
          <ac:chgData name="Wang, Han" userId="9a056b73-0254-4e07-9351-ba9f4ce96737" providerId="ADAL" clId="{BE80FE12-4646-4FA4-A284-ABB4D2A3A409}" dt="2024-03-19T14:31:45.851" v="2689" actId="478"/>
          <ac:cxnSpMkLst>
            <pc:docMk/>
            <pc:sldMk cId="269300543" sldId="357"/>
            <ac:cxnSpMk id="37" creationId="{8231A288-1ECF-698C-791C-DBCA248C6505}"/>
          </ac:cxnSpMkLst>
        </pc:cxnChg>
        <pc:cxnChg chg="add mod">
          <ac:chgData name="Wang, Han" userId="9a056b73-0254-4e07-9351-ba9f4ce96737" providerId="ADAL" clId="{BE80FE12-4646-4FA4-A284-ABB4D2A3A409}" dt="2024-03-19T14:40:31.142" v="2707" actId="1076"/>
          <ac:cxnSpMkLst>
            <pc:docMk/>
            <pc:sldMk cId="269300543" sldId="357"/>
            <ac:cxnSpMk id="39" creationId="{181341FD-0AA4-2442-5C10-F0DCC9AFF302}"/>
          </ac:cxnSpMkLst>
        </pc:cxnChg>
        <pc:cxnChg chg="add mod">
          <ac:chgData name="Wang, Han" userId="9a056b73-0254-4e07-9351-ba9f4ce96737" providerId="ADAL" clId="{BE80FE12-4646-4FA4-A284-ABB4D2A3A409}" dt="2024-03-19T14:40:31.142" v="2707" actId="1076"/>
          <ac:cxnSpMkLst>
            <pc:docMk/>
            <pc:sldMk cId="269300543" sldId="357"/>
            <ac:cxnSpMk id="52" creationId="{955412C4-0B8B-0E10-B4B5-DECF073D10E8}"/>
          </ac:cxnSpMkLst>
        </pc:cxnChg>
        <pc:cxnChg chg="add mod">
          <ac:chgData name="Wang, Han" userId="9a056b73-0254-4e07-9351-ba9f4ce96737" providerId="ADAL" clId="{BE80FE12-4646-4FA4-A284-ABB4D2A3A409}" dt="2024-03-19T14:40:31.142" v="2707" actId="1076"/>
          <ac:cxnSpMkLst>
            <pc:docMk/>
            <pc:sldMk cId="269300543" sldId="357"/>
            <ac:cxnSpMk id="53" creationId="{992E1C43-4273-7693-5470-3CF026B38F43}"/>
          </ac:cxnSpMkLst>
        </pc:cxnChg>
        <pc:cxnChg chg="add mod">
          <ac:chgData name="Wang, Han" userId="9a056b73-0254-4e07-9351-ba9f4ce96737" providerId="ADAL" clId="{BE80FE12-4646-4FA4-A284-ABB4D2A3A409}" dt="2024-03-19T14:40:31.142" v="2707" actId="1076"/>
          <ac:cxnSpMkLst>
            <pc:docMk/>
            <pc:sldMk cId="269300543" sldId="357"/>
            <ac:cxnSpMk id="54" creationId="{84EF695B-F4B8-9874-5887-85D76D3A4D58}"/>
          </ac:cxnSpMkLst>
        </pc:cxnChg>
        <pc:cxnChg chg="add mod">
          <ac:chgData name="Wang, Han" userId="9a056b73-0254-4e07-9351-ba9f4ce96737" providerId="ADAL" clId="{BE80FE12-4646-4FA4-A284-ABB4D2A3A409}" dt="2024-03-19T14:40:43.076" v="2708" actId="1076"/>
          <ac:cxnSpMkLst>
            <pc:docMk/>
            <pc:sldMk cId="269300543" sldId="357"/>
            <ac:cxnSpMk id="62" creationId="{C6D06AB7-8AB6-DFDA-2143-C996A9A938C6}"/>
          </ac:cxnSpMkLst>
        </pc:cxnChg>
        <pc:cxnChg chg="add mod">
          <ac:chgData name="Wang, Han" userId="9a056b73-0254-4e07-9351-ba9f4ce96737" providerId="ADAL" clId="{BE80FE12-4646-4FA4-A284-ABB4D2A3A409}" dt="2024-03-19T14:46:02.019" v="2735" actId="1582"/>
          <ac:cxnSpMkLst>
            <pc:docMk/>
            <pc:sldMk cId="269300543" sldId="357"/>
            <ac:cxnSpMk id="67" creationId="{88484735-702F-EA06-E9EC-266BDC107033}"/>
          </ac:cxnSpMkLst>
        </pc:cxnChg>
        <pc:cxnChg chg="add del mod">
          <ac:chgData name="Wang, Han" userId="9a056b73-0254-4e07-9351-ba9f4ce96737" providerId="ADAL" clId="{BE80FE12-4646-4FA4-A284-ABB4D2A3A409}" dt="2024-03-19T14:43:06.641" v="2727" actId="478"/>
          <ac:cxnSpMkLst>
            <pc:docMk/>
            <pc:sldMk cId="269300543" sldId="357"/>
            <ac:cxnSpMk id="70" creationId="{094749E1-B849-5052-581C-9555171154EA}"/>
          </ac:cxnSpMkLst>
        </pc:cxnChg>
        <pc:cxnChg chg="add del mod">
          <ac:chgData name="Wang, Han" userId="9a056b73-0254-4e07-9351-ba9f4ce96737" providerId="ADAL" clId="{BE80FE12-4646-4FA4-A284-ABB4D2A3A409}" dt="2024-03-19T14:44:34.920" v="2729" actId="478"/>
          <ac:cxnSpMkLst>
            <pc:docMk/>
            <pc:sldMk cId="269300543" sldId="357"/>
            <ac:cxnSpMk id="73" creationId="{05D894C7-178B-B506-010B-31C690909641}"/>
          </ac:cxnSpMkLst>
        </pc:cxnChg>
      </pc:sldChg>
      <pc:sldChg chg="addSp delSp modSp new mod">
        <pc:chgData name="Wang, Han" userId="9a056b73-0254-4e07-9351-ba9f4ce96737" providerId="ADAL" clId="{BE80FE12-4646-4FA4-A284-ABB4D2A3A409}" dt="2024-04-11T09:23:05.838" v="6357" actId="1076"/>
        <pc:sldMkLst>
          <pc:docMk/>
          <pc:sldMk cId="589467212" sldId="358"/>
        </pc:sldMkLst>
        <pc:spChg chg="mod">
          <ac:chgData name="Wang, Han" userId="9a056b73-0254-4e07-9351-ba9f4ce96737" providerId="ADAL" clId="{BE80FE12-4646-4FA4-A284-ABB4D2A3A409}" dt="2024-03-19T14:10:24.022" v="2322" actId="20577"/>
          <ac:spMkLst>
            <pc:docMk/>
            <pc:sldMk cId="589467212" sldId="358"/>
            <ac:spMk id="2" creationId="{6D7F7D32-B328-B372-A2BD-7A13C805F61A}"/>
          </ac:spMkLst>
        </pc:spChg>
        <pc:spChg chg="mod">
          <ac:chgData name="Wang, Han" userId="9a056b73-0254-4e07-9351-ba9f4ce96737" providerId="ADAL" clId="{BE80FE12-4646-4FA4-A284-ABB4D2A3A409}" dt="2024-03-19T14:11:01.401" v="2382" actId="790"/>
          <ac:spMkLst>
            <pc:docMk/>
            <pc:sldMk cId="589467212" sldId="358"/>
            <ac:spMk id="6" creationId="{1588EA2C-7450-2420-7709-38360F2D9482}"/>
          </ac:spMkLst>
        </pc:spChg>
        <pc:spChg chg="del">
          <ac:chgData name="Wang, Han" userId="9a056b73-0254-4e07-9351-ba9f4ce96737" providerId="ADAL" clId="{BE80FE12-4646-4FA4-A284-ABB4D2A3A409}" dt="2024-03-19T15:35:07.299" v="2872" actId="478"/>
          <ac:spMkLst>
            <pc:docMk/>
            <pc:sldMk cId="589467212" sldId="358"/>
            <ac:spMk id="7" creationId="{68F2454F-C6FE-FA67-433D-9A9D51AFE39E}"/>
          </ac:spMkLst>
        </pc:spChg>
        <pc:spChg chg="add mod">
          <ac:chgData name="Wang, Han" userId="9a056b73-0254-4e07-9351-ba9f4ce96737" providerId="ADAL" clId="{BE80FE12-4646-4FA4-A284-ABB4D2A3A409}" dt="2024-03-19T16:34:35.788" v="3235" actId="207"/>
          <ac:spMkLst>
            <pc:docMk/>
            <pc:sldMk cId="589467212" sldId="358"/>
            <ac:spMk id="8" creationId="{B8908167-0618-2B5B-7381-D5A89D0C080D}"/>
          </ac:spMkLst>
        </pc:spChg>
        <pc:spChg chg="add mod">
          <ac:chgData name="Wang, Han" userId="9a056b73-0254-4e07-9351-ba9f4ce96737" providerId="ADAL" clId="{BE80FE12-4646-4FA4-A284-ABB4D2A3A409}" dt="2024-03-20T08:52:32.269" v="3251" actId="164"/>
          <ac:spMkLst>
            <pc:docMk/>
            <pc:sldMk cId="589467212" sldId="358"/>
            <ac:spMk id="9" creationId="{EAAC1F1C-C768-1350-90D2-4E0BEBF23925}"/>
          </ac:spMkLst>
        </pc:spChg>
        <pc:spChg chg="add mod">
          <ac:chgData name="Wang, Han" userId="9a056b73-0254-4e07-9351-ba9f4ce96737" providerId="ADAL" clId="{BE80FE12-4646-4FA4-A284-ABB4D2A3A409}" dt="2024-03-20T08:52:32.269" v="3251" actId="164"/>
          <ac:spMkLst>
            <pc:docMk/>
            <pc:sldMk cId="589467212" sldId="358"/>
            <ac:spMk id="10" creationId="{CA748435-1242-2046-3016-9ED6C86D3F49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11" creationId="{B3A5329D-8C4F-4944-DDC7-07C03511B7AA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12" creationId="{865589D2-9D91-34A9-F32D-479018F30CD3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13" creationId="{823AA26E-9420-2B8E-A319-EE69EFD06CCF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14" creationId="{E698A641-73FD-10F3-E822-6637FD91B0BF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15" creationId="{C4906BF7-A88E-7195-8F46-6084331E52CC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16" creationId="{9C5F5FD3-F479-C1DC-05B3-531D62212771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17" creationId="{57F9E1EE-9D1B-3DAD-3A72-3B05CD4415C6}"/>
          </ac:spMkLst>
        </pc:spChg>
        <pc:spChg chg="add mod">
          <ac:chgData name="Wang, Han" userId="9a056b73-0254-4e07-9351-ba9f4ce96737" providerId="ADAL" clId="{BE80FE12-4646-4FA4-A284-ABB4D2A3A409}" dt="2024-04-11T09:20:38.008" v="6296" actId="1076"/>
          <ac:spMkLst>
            <pc:docMk/>
            <pc:sldMk cId="589467212" sldId="358"/>
            <ac:spMk id="18" creationId="{4EA0D888-CE34-534E-86C8-2FC93F92F6F3}"/>
          </ac:spMkLst>
        </pc:spChg>
        <pc:spChg chg="add del mod">
          <ac:chgData name="Wang, Han" userId="9a056b73-0254-4e07-9351-ba9f4ce96737" providerId="ADAL" clId="{BE80FE12-4646-4FA4-A284-ABB4D2A3A409}" dt="2024-03-19T15:40:28.747" v="2929" actId="478"/>
          <ac:spMkLst>
            <pc:docMk/>
            <pc:sldMk cId="589467212" sldId="358"/>
            <ac:spMk id="18" creationId="{947A3213-C9D9-D37A-609D-FD7F5464D560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19" creationId="{2189136E-5BBA-BD37-60B7-81AAE0506473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0" creationId="{E6441B2C-EB02-F189-4566-7FA591A42C60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1" creationId="{D7F0FC80-61D8-2CC1-2AF8-3498F35EB8C0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2" creationId="{4DE6ADAC-D808-2CF9-CF57-D1DEBDB4A983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3" creationId="{7E88C6B0-FD7C-0CDC-2F1D-3231D1B20F2E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4" creationId="{B3FBBDF1-FA16-4B4C-9B53-8EB02BECDB56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5" creationId="{04FC75A1-9FA9-FF84-437E-8C927CE1A51D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6" creationId="{C589960F-5977-C0D4-2B96-01BB146EFECE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7" creationId="{E03A9375-6C91-7C19-4971-5D7D216E9DF2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8" creationId="{B7E7340F-FF61-E82D-5F60-D5041928A5B5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29" creationId="{727A5B91-B52B-27CF-9895-3C3300F379EB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0" creationId="{00323728-9327-5DAB-2ACB-413CED9AFF46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1" creationId="{9F04DADE-3580-8AFE-A358-59FF45515493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2" creationId="{A7F71B33-1232-62E0-2131-0A5805193DC1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3" creationId="{6528838C-8759-22FC-9114-D31009A51EBF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4" creationId="{8CB85CB0-175B-1DE4-9E8E-6AF5317B1310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5" creationId="{9DD2643B-0601-1DA5-7CA8-CED723E966C6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6" creationId="{3350E747-1656-E2E6-B9A5-92CD20F651E2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7" creationId="{E882FD13-763C-6C06-256D-D705767ED487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8" creationId="{F6A0A2EA-90DC-B05A-731D-AF4217BE855F}"/>
          </ac:spMkLst>
        </pc:spChg>
        <pc:spChg chg="add mod">
          <ac:chgData name="Wang, Han" userId="9a056b73-0254-4e07-9351-ba9f4ce96737" providerId="ADAL" clId="{BE80FE12-4646-4FA4-A284-ABB4D2A3A409}" dt="2024-03-19T16:28:24.903" v="3183" actId="1076"/>
          <ac:spMkLst>
            <pc:docMk/>
            <pc:sldMk cId="589467212" sldId="358"/>
            <ac:spMk id="39" creationId="{86870ECA-5C9C-C3C0-EDB1-F360664C42AF}"/>
          </ac:spMkLst>
        </pc:spChg>
        <pc:spChg chg="add mod">
          <ac:chgData name="Wang, Han" userId="9a056b73-0254-4e07-9351-ba9f4ce96737" providerId="ADAL" clId="{BE80FE12-4646-4FA4-A284-ABB4D2A3A409}" dt="2024-04-11T09:21:10.083" v="6334" actId="20577"/>
          <ac:spMkLst>
            <pc:docMk/>
            <pc:sldMk cId="589467212" sldId="358"/>
            <ac:spMk id="40" creationId="{299C9FAA-36E1-1310-4E4F-02E300C6CA30}"/>
          </ac:spMkLst>
        </pc:spChg>
        <pc:spChg chg="add del mod">
          <ac:chgData name="Wang, Han" userId="9a056b73-0254-4e07-9351-ba9f4ce96737" providerId="ADAL" clId="{BE80FE12-4646-4FA4-A284-ABB4D2A3A409}" dt="2024-03-19T15:45:59.907" v="2984" actId="478"/>
          <ac:spMkLst>
            <pc:docMk/>
            <pc:sldMk cId="589467212" sldId="358"/>
            <ac:spMk id="40" creationId="{D2D6E95F-0707-7B60-2758-BB9FD93853C5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41" creationId="{3417566E-ED68-2ACE-E1DA-4FF7CF979D3B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42" creationId="{E23FF9AE-D747-6BE5-2E58-DCCBFAE3F80A}"/>
          </ac:spMkLst>
        </pc:spChg>
        <pc:spChg chg="add mod or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43" creationId="{FA4406A5-C242-C36A-466C-95512F321C40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44" creationId="{7E676FA4-9646-BD1D-DCBB-FA5BE04AEFE4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45" creationId="{24BA0CE4-6921-B457-61F8-4E1E1D4AA6B4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46" creationId="{C303D864-24A0-F173-6154-409D45D11294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47" creationId="{F4330CDC-2488-EF1E-5C9F-AF9B2FFD48DC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48" creationId="{8104A8A4-CE55-0B8E-ECA3-F3798D38FDAE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49" creationId="{DEC2F9F7-E835-7565-AD8D-84F16CC1E468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0" creationId="{EEB8BE73-9813-5154-4D43-07F1C9BB8DA9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1" creationId="{ACA48D61-5A8B-3327-0B65-B774A383E36C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2" creationId="{9FCD755F-ADF7-0B5D-3117-B631574866F8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3" creationId="{1AE270F9-03FD-2D0B-6C29-C2C956058606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4" creationId="{5CC22F91-0115-BFAF-702A-824C117A5385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5" creationId="{4E55037D-419D-84C1-8A73-3E76257AD515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6" creationId="{BFF7422F-5006-8A5B-7F28-8DB7F6B3F1B2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7" creationId="{7E306BEB-6FCA-5506-2A42-B22FD53D93B5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8" creationId="{57A98E4C-1260-2A45-5E9B-72D5D6BCADC8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59" creationId="{1273FF6A-047C-E0EF-C063-0109AC87A898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60" creationId="{3B6A66C5-2DE4-41CC-324F-82DB9BA681BD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61" creationId="{E5C7AA3C-ED8C-EB33-40DA-2628B0556204}"/>
          </ac:spMkLst>
        </pc:spChg>
        <pc:spChg chg="add mod">
          <ac:chgData name="Wang, Han" userId="9a056b73-0254-4e07-9351-ba9f4ce96737" providerId="ADAL" clId="{BE80FE12-4646-4FA4-A284-ABB4D2A3A409}" dt="2024-03-19T16:28:31.294" v="3184" actId="1076"/>
          <ac:spMkLst>
            <pc:docMk/>
            <pc:sldMk cId="589467212" sldId="358"/>
            <ac:spMk id="62" creationId="{C356949B-8C65-E5B8-49B8-02492D7D6B6A}"/>
          </ac:spMkLst>
        </pc:spChg>
        <pc:spChg chg="add mod">
          <ac:chgData name="Wang, Han" userId="9a056b73-0254-4e07-9351-ba9f4ce96737" providerId="ADAL" clId="{BE80FE12-4646-4FA4-A284-ABB4D2A3A409}" dt="2024-04-11T09:20:33.474" v="6295" actId="1076"/>
          <ac:spMkLst>
            <pc:docMk/>
            <pc:sldMk cId="589467212" sldId="358"/>
            <ac:spMk id="67" creationId="{C0BCE7FD-1BEC-CFCD-ECA1-52CE873379BA}"/>
          </ac:spMkLst>
        </pc:spChg>
        <pc:spChg chg="add mod">
          <ac:chgData name="Wang, Han" userId="9a056b73-0254-4e07-9351-ba9f4ce96737" providerId="ADAL" clId="{BE80FE12-4646-4FA4-A284-ABB4D2A3A409}" dt="2024-04-11T09:20:33.474" v="6295" actId="1076"/>
          <ac:spMkLst>
            <pc:docMk/>
            <pc:sldMk cId="589467212" sldId="358"/>
            <ac:spMk id="68" creationId="{1F08B680-0652-2926-3067-D97DF50EED96}"/>
          </ac:spMkLst>
        </pc:spChg>
        <pc:spChg chg="add mod">
          <ac:chgData name="Wang, Han" userId="9a056b73-0254-4e07-9351-ba9f4ce96737" providerId="ADAL" clId="{BE80FE12-4646-4FA4-A284-ABB4D2A3A409}" dt="2024-04-11T09:23:05.838" v="6357" actId="1076"/>
          <ac:spMkLst>
            <pc:docMk/>
            <pc:sldMk cId="589467212" sldId="358"/>
            <ac:spMk id="69" creationId="{ADCF051E-A9FE-B20B-C5EC-10F879101A8B}"/>
          </ac:spMkLst>
        </pc:spChg>
        <pc:grpChg chg="add mod">
          <ac:chgData name="Wang, Han" userId="9a056b73-0254-4e07-9351-ba9f4ce96737" providerId="ADAL" clId="{BE80FE12-4646-4FA4-A284-ABB4D2A3A409}" dt="2024-03-20T08:52:32.269" v="3251" actId="164"/>
          <ac:grpSpMkLst>
            <pc:docMk/>
            <pc:sldMk cId="589467212" sldId="358"/>
            <ac:grpSpMk id="7" creationId="{9CDA23AB-4AF9-EE03-68EF-434C2558E971}"/>
          </ac:grpSpMkLst>
        </pc:grpChg>
        <pc:cxnChg chg="add mod">
          <ac:chgData name="Wang, Han" userId="9a056b73-0254-4e07-9351-ba9f4ce96737" providerId="ADAL" clId="{BE80FE12-4646-4FA4-A284-ABB4D2A3A409}" dt="2024-03-19T16:28:31.294" v="3184" actId="1076"/>
          <ac:cxnSpMkLst>
            <pc:docMk/>
            <pc:sldMk cId="589467212" sldId="358"/>
            <ac:cxnSpMk id="64" creationId="{B59FBD46-D158-B73F-16EC-87443F016D5C}"/>
          </ac:cxnSpMkLst>
        </pc:cxnChg>
        <pc:cxnChg chg="add mod">
          <ac:chgData name="Wang, Han" userId="9a056b73-0254-4e07-9351-ba9f4ce96737" providerId="ADAL" clId="{BE80FE12-4646-4FA4-A284-ABB4D2A3A409}" dt="2024-03-19T16:28:31.294" v="3184" actId="1076"/>
          <ac:cxnSpMkLst>
            <pc:docMk/>
            <pc:sldMk cId="589467212" sldId="358"/>
            <ac:cxnSpMk id="65" creationId="{67822CE7-D223-B532-682F-F9465ED1655A}"/>
          </ac:cxnSpMkLst>
        </pc:cxnChg>
        <pc:cxnChg chg="add mod">
          <ac:chgData name="Wang, Han" userId="9a056b73-0254-4e07-9351-ba9f4ce96737" providerId="ADAL" clId="{BE80FE12-4646-4FA4-A284-ABB4D2A3A409}" dt="2024-03-19T16:28:31.294" v="3184" actId="1076"/>
          <ac:cxnSpMkLst>
            <pc:docMk/>
            <pc:sldMk cId="589467212" sldId="358"/>
            <ac:cxnSpMk id="66" creationId="{25584137-1BD0-121B-46F1-4BF7D5FE5C8B}"/>
          </ac:cxnSpMkLst>
        </pc:cxnChg>
      </pc:sldChg>
      <pc:sldChg chg="addSp delSp modSp new mod">
        <pc:chgData name="Wang, Han" userId="9a056b73-0254-4e07-9351-ba9f4ce96737" providerId="ADAL" clId="{BE80FE12-4646-4FA4-A284-ABB4D2A3A409}" dt="2024-04-11T09:26:50.472" v="6438" actId="404"/>
        <pc:sldMkLst>
          <pc:docMk/>
          <pc:sldMk cId="3426402368" sldId="359"/>
        </pc:sldMkLst>
        <pc:spChg chg="mod">
          <ac:chgData name="Wang, Han" userId="9a056b73-0254-4e07-9351-ba9f4ce96737" providerId="ADAL" clId="{BE80FE12-4646-4FA4-A284-ABB4D2A3A409}" dt="2024-03-19T14:19:27.251" v="2478" actId="790"/>
          <ac:spMkLst>
            <pc:docMk/>
            <pc:sldMk cId="3426402368" sldId="359"/>
            <ac:spMk id="2" creationId="{95448CA9-2782-F1D4-C031-95281D1AEB3D}"/>
          </ac:spMkLst>
        </pc:spChg>
        <pc:spChg chg="mod">
          <ac:chgData name="Wang, Han" userId="9a056b73-0254-4e07-9351-ba9f4ce96737" providerId="ADAL" clId="{BE80FE12-4646-4FA4-A284-ABB4D2A3A409}" dt="2024-03-20T10:32:41.205" v="3517" actId="1076"/>
          <ac:spMkLst>
            <pc:docMk/>
            <pc:sldMk cId="3426402368" sldId="359"/>
            <ac:spMk id="6" creationId="{B2CD431E-9D70-D302-5561-A767D084FE93}"/>
          </ac:spMkLst>
        </pc:spChg>
        <pc:spChg chg="add mod">
          <ac:chgData name="Wang, Han" userId="9a056b73-0254-4e07-9351-ba9f4ce96737" providerId="ADAL" clId="{BE80FE12-4646-4FA4-A284-ABB4D2A3A409}" dt="2024-04-11T09:26:35.121" v="6436" actId="1076"/>
          <ac:spMkLst>
            <pc:docMk/>
            <pc:sldMk cId="3426402368" sldId="359"/>
            <ac:spMk id="7" creationId="{3545191B-24A9-0FDD-BF45-DFB71107246C}"/>
          </ac:spMkLst>
        </pc:spChg>
        <pc:spChg chg="del">
          <ac:chgData name="Wang, Han" userId="9a056b73-0254-4e07-9351-ba9f4ce96737" providerId="ADAL" clId="{BE80FE12-4646-4FA4-A284-ABB4D2A3A409}" dt="2024-03-20T08:52:47.405" v="3252" actId="478"/>
          <ac:spMkLst>
            <pc:docMk/>
            <pc:sldMk cId="3426402368" sldId="359"/>
            <ac:spMk id="7" creationId="{C7EDF800-BCFD-02A8-C6CB-360CA67B69D3}"/>
          </ac:spMkLst>
        </pc:spChg>
        <pc:spChg chg="mod">
          <ac:chgData name="Wang, Han" userId="9a056b73-0254-4e07-9351-ba9f4ce96737" providerId="ADAL" clId="{BE80FE12-4646-4FA4-A284-ABB4D2A3A409}" dt="2024-03-20T08:52:47.871" v="3253"/>
          <ac:spMkLst>
            <pc:docMk/>
            <pc:sldMk cId="3426402368" sldId="359"/>
            <ac:spMk id="9" creationId="{27B0E427-66D2-9017-01C7-3420C4EDB820}"/>
          </ac:spMkLst>
        </pc:spChg>
        <pc:spChg chg="mod">
          <ac:chgData name="Wang, Han" userId="9a056b73-0254-4e07-9351-ba9f4ce96737" providerId="ADAL" clId="{BE80FE12-4646-4FA4-A284-ABB4D2A3A409}" dt="2024-03-20T08:53:55.956" v="3261" actId="14100"/>
          <ac:spMkLst>
            <pc:docMk/>
            <pc:sldMk cId="3426402368" sldId="359"/>
            <ac:spMk id="10" creationId="{C08C76A7-8263-C97D-328E-FDC5C3604E57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11" creationId="{AB1DC6AA-0E93-0C5A-70C9-A3D35DDAFA55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12" creationId="{D1252620-BB18-3D4D-7DA7-F32BD4BA7BCF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13" creationId="{85CB847A-1CFF-5425-DB58-846A0D90D113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14" creationId="{CA1F168D-423A-C367-D292-B011D4FD6142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15" creationId="{90B4EA2D-1E76-E626-6DA0-548465C2D1C2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16" creationId="{05587D74-BEF0-4FEC-81A0-11BAC436332B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17" creationId="{C075BA4E-C8B4-AF56-14C2-25842D4F596E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18" creationId="{0C05CE26-24E6-3980-9BF9-EB54D1FAE67B}"/>
          </ac:spMkLst>
        </pc:spChg>
        <pc:spChg chg="add mod">
          <ac:chgData name="Wang, Han" userId="9a056b73-0254-4e07-9351-ba9f4ce96737" providerId="ADAL" clId="{BE80FE12-4646-4FA4-A284-ABB4D2A3A409}" dt="2024-03-21T10:54:25.011" v="4781" actId="571"/>
          <ac:spMkLst>
            <pc:docMk/>
            <pc:sldMk cId="3426402368" sldId="359"/>
            <ac:spMk id="19" creationId="{C4CA2481-A409-CEB8-9D1E-354F761E42A9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19" creationId="{E54A8911-E3BF-0658-3ACE-EEFF35055B73}"/>
          </ac:spMkLst>
        </pc:spChg>
        <pc:spChg chg="add mod">
          <ac:chgData name="Wang, Han" userId="9a056b73-0254-4e07-9351-ba9f4ce96737" providerId="ADAL" clId="{BE80FE12-4646-4FA4-A284-ABB4D2A3A409}" dt="2024-04-11T09:26:50.472" v="6438" actId="404"/>
          <ac:spMkLst>
            <pc:docMk/>
            <pc:sldMk cId="3426402368" sldId="359"/>
            <ac:spMk id="19" creationId="{EEA3E478-5EFD-66E2-8290-D6BB883A3685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0" creationId="{0B046B15-D3B1-198E-CB48-3247754B0E58}"/>
          </ac:spMkLst>
        </pc:spChg>
        <pc:spChg chg="add mod">
          <ac:chgData name="Wang, Han" userId="9a056b73-0254-4e07-9351-ba9f4ce96737" providerId="ADAL" clId="{BE80FE12-4646-4FA4-A284-ABB4D2A3A409}" dt="2024-03-21T10:54:25.011" v="4781" actId="571"/>
          <ac:spMkLst>
            <pc:docMk/>
            <pc:sldMk cId="3426402368" sldId="359"/>
            <ac:spMk id="20" creationId="{3993FFB6-0043-16EC-C23E-8D837ED8508C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1" creationId="{FD8C6862-EAEC-4C79-4B55-A56F31247E8B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2" creationId="{60451D0D-39C3-6B9A-39F2-BDB3D3593B6C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3" creationId="{CFF7F651-339E-D3DA-D2BE-643333351D07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4" creationId="{2834EA5F-5BB9-21E9-EFF7-8CB8177AAC96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5" creationId="{DCE69320-7E15-54C3-4553-5B374925DED5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6" creationId="{683B942B-33D6-FF1A-D6E2-29272CB8D1A8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7" creationId="{10DCD47F-CFD9-538A-E41C-632914011165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8" creationId="{A4CF3D51-2EF9-1F6B-CEB9-4509C86FE293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29" creationId="{34A9A304-98A3-4AFC-E0E6-F747B274934D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30" creationId="{47F51400-9652-E381-5639-E650A08A1C58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31" creationId="{58B9D982-A2D8-E933-7A23-E29B2CC1D64A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32" creationId="{69D23B6F-8380-11A6-376F-287565B000C1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33" creationId="{5FEF86E7-228F-5FA4-A29E-11303C2292AB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34" creationId="{9A8E470D-7603-524A-6BC6-B4C1370BDAF4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35" creationId="{F5BE8B44-1682-F2D4-4F6B-E244E0914BE5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36" creationId="{94EA55D7-071C-EA09-2235-BABF05B4E83B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37" creationId="{8493ADD4-D1F7-8E52-5365-1DF1C6D43DAD}"/>
          </ac:spMkLst>
        </pc:spChg>
        <pc:spChg chg="add del mod">
          <ac:chgData name="Wang, Han" userId="9a056b73-0254-4e07-9351-ba9f4ce96737" providerId="ADAL" clId="{BE80FE12-4646-4FA4-A284-ABB4D2A3A409}" dt="2024-03-20T08:53:28.056" v="3256" actId="478"/>
          <ac:spMkLst>
            <pc:docMk/>
            <pc:sldMk cId="3426402368" sldId="359"/>
            <ac:spMk id="38" creationId="{B29A1397-180B-24A0-D030-72E86511D1DA}"/>
          </ac:spMkLst>
        </pc:spChg>
        <pc:spChg chg="mod">
          <ac:chgData name="Wang, Han" userId="9a056b73-0254-4e07-9351-ba9f4ce96737" providerId="ADAL" clId="{BE80FE12-4646-4FA4-A284-ABB4D2A3A409}" dt="2024-03-20T08:55:35.483" v="3263" actId="571"/>
          <ac:spMkLst>
            <pc:docMk/>
            <pc:sldMk cId="3426402368" sldId="359"/>
            <ac:spMk id="40" creationId="{29A374EF-B368-50E5-6B6F-580D254E5B34}"/>
          </ac:spMkLst>
        </pc:spChg>
        <pc:spChg chg="mod">
          <ac:chgData name="Wang, Han" userId="9a056b73-0254-4e07-9351-ba9f4ce96737" providerId="ADAL" clId="{BE80FE12-4646-4FA4-A284-ABB4D2A3A409}" dt="2024-03-20T08:55:35.483" v="3263" actId="571"/>
          <ac:spMkLst>
            <pc:docMk/>
            <pc:sldMk cId="3426402368" sldId="359"/>
            <ac:spMk id="41" creationId="{C59D2BD9-B4DB-85E8-3039-C9AD363F3E75}"/>
          </ac:spMkLst>
        </pc:spChg>
        <pc:spChg chg="mod">
          <ac:chgData name="Wang, Han" userId="9a056b73-0254-4e07-9351-ba9f4ce96737" providerId="ADAL" clId="{BE80FE12-4646-4FA4-A284-ABB4D2A3A409}" dt="2024-03-20T08:55:46.467" v="3265" actId="571"/>
          <ac:spMkLst>
            <pc:docMk/>
            <pc:sldMk cId="3426402368" sldId="359"/>
            <ac:spMk id="43" creationId="{8F286F4B-F0B8-5F12-9D11-735CB1671E0D}"/>
          </ac:spMkLst>
        </pc:spChg>
        <pc:spChg chg="mod">
          <ac:chgData name="Wang, Han" userId="9a056b73-0254-4e07-9351-ba9f4ce96737" providerId="ADAL" clId="{BE80FE12-4646-4FA4-A284-ABB4D2A3A409}" dt="2024-03-20T08:55:46.467" v="3265" actId="571"/>
          <ac:spMkLst>
            <pc:docMk/>
            <pc:sldMk cId="3426402368" sldId="359"/>
            <ac:spMk id="44" creationId="{0B459327-B75F-C72B-1FAA-138EF8DAD826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45" creationId="{ED913EE9-3A78-961D-1737-3C86C8D9C07F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46" creationId="{BB269728-70D1-1211-0713-EB0FE2BCCC53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47" creationId="{26349DEA-BD6A-AF03-CD15-179B944601CC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48" creationId="{E47F1002-CA81-1407-F0FE-0AEC32C96DF5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49" creationId="{93FEE9ED-C9AD-E347-17D3-5415E2DCFC0A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50" creationId="{35D14B72-6E3B-DCC0-CA68-EE092F16A3BC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51" creationId="{F6C6E7E9-C693-6C50-13D4-6452DF1AB263}"/>
          </ac:spMkLst>
        </pc:spChg>
        <pc:spChg chg="mod">
          <ac:chgData name="Wang, Han" userId="9a056b73-0254-4e07-9351-ba9f4ce96737" providerId="ADAL" clId="{BE80FE12-4646-4FA4-A284-ABB4D2A3A409}" dt="2024-03-20T09:32:21.621" v="3292" actId="571"/>
          <ac:spMkLst>
            <pc:docMk/>
            <pc:sldMk cId="3426402368" sldId="359"/>
            <ac:spMk id="53" creationId="{0A138364-236A-D96B-46CE-F01B400110E1}"/>
          </ac:spMkLst>
        </pc:spChg>
        <pc:spChg chg="mod">
          <ac:chgData name="Wang, Han" userId="9a056b73-0254-4e07-9351-ba9f4ce96737" providerId="ADAL" clId="{BE80FE12-4646-4FA4-A284-ABB4D2A3A409}" dt="2024-03-20T09:32:21.621" v="3292" actId="571"/>
          <ac:spMkLst>
            <pc:docMk/>
            <pc:sldMk cId="3426402368" sldId="359"/>
            <ac:spMk id="54" creationId="{32932846-5613-C601-35FC-76EDB625C18A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55" creationId="{E5B9B04B-7893-B426-942F-D78662ED758D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56" creationId="{0ABF4BFD-F232-B3B8-0ABC-B08D0F67987E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57" creationId="{766102B9-81B6-31C1-1D80-2F506E604BC0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58" creationId="{DB245EB6-C401-5483-9F5B-1C618F7CFF2D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59" creationId="{FFD18D47-7523-D683-AFAF-01CF2013EE57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60" creationId="{D40ADCEF-A97A-ABFB-F3E1-7033C110C67E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61" creationId="{CE990609-744D-D1A8-6878-CADD003F5F09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62" creationId="{C4C34E4C-4A1F-39A3-2AA0-3F91D52D1F20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63" creationId="{72F880CF-F754-406B-8A7F-31C8C591DCD5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67" creationId="{8C26C942-FF74-284E-A8B3-F2B698D68B95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68" creationId="{1E23CD57-F5BC-EE81-5A0F-C3810890D24A}"/>
          </ac:spMkLst>
        </pc:spChg>
        <pc:spChg chg="add mod">
          <ac:chgData name="Wang, Han" userId="9a056b73-0254-4e07-9351-ba9f4ce96737" providerId="ADAL" clId="{BE80FE12-4646-4FA4-A284-ABB4D2A3A409}" dt="2024-03-20T12:52:22.758" v="3856" actId="207"/>
          <ac:spMkLst>
            <pc:docMk/>
            <pc:sldMk cId="3426402368" sldId="359"/>
            <ac:spMk id="73" creationId="{21D26D06-0131-7DB0-CABF-9A2EE89ADB13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74" creationId="{1761F659-5C7B-CD8F-61F4-20ED06BC043E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75" creationId="{90C70F4C-531A-E0CE-A266-586C7446F371}"/>
          </ac:spMkLst>
        </pc:spChg>
        <pc:spChg chg="add mod">
          <ac:chgData name="Wang, Han" userId="9a056b73-0254-4e07-9351-ba9f4ce96737" providerId="ADAL" clId="{BE80FE12-4646-4FA4-A284-ABB4D2A3A409}" dt="2024-03-20T10:27:40.613" v="3462" actId="1076"/>
          <ac:spMkLst>
            <pc:docMk/>
            <pc:sldMk cId="3426402368" sldId="359"/>
            <ac:spMk id="76" creationId="{BA92D903-5D9B-D0B0-1624-71985DF7C815}"/>
          </ac:spMkLst>
        </pc:spChg>
        <pc:spChg chg="mod">
          <ac:chgData name="Wang, Han" userId="9a056b73-0254-4e07-9351-ba9f4ce96737" providerId="ADAL" clId="{BE80FE12-4646-4FA4-A284-ABB4D2A3A409}" dt="2024-03-20T10:29:40.545" v="3463"/>
          <ac:spMkLst>
            <pc:docMk/>
            <pc:sldMk cId="3426402368" sldId="359"/>
            <ac:spMk id="91" creationId="{CD1B9262-CDF7-1A42-19A9-2101F86F6328}"/>
          </ac:spMkLst>
        </pc:spChg>
        <pc:spChg chg="mod">
          <ac:chgData name="Wang, Han" userId="9a056b73-0254-4e07-9351-ba9f4ce96737" providerId="ADAL" clId="{BE80FE12-4646-4FA4-A284-ABB4D2A3A409}" dt="2024-03-20T10:29:40.545" v="3463"/>
          <ac:spMkLst>
            <pc:docMk/>
            <pc:sldMk cId="3426402368" sldId="359"/>
            <ac:spMk id="92" creationId="{35281092-4B35-F2B1-6A33-C47209EC653F}"/>
          </ac:spMkLst>
        </pc:spChg>
        <pc:spChg chg="add del mod">
          <ac:chgData name="Wang, Han" userId="9a056b73-0254-4e07-9351-ba9f4ce96737" providerId="ADAL" clId="{BE80FE12-4646-4FA4-A284-ABB4D2A3A409}" dt="2024-03-20T10:30:53.468" v="3478" actId="478"/>
          <ac:spMkLst>
            <pc:docMk/>
            <pc:sldMk cId="3426402368" sldId="359"/>
            <ac:spMk id="93" creationId="{D08C05E5-612C-0012-D046-1F1B95C3A5A3}"/>
          </ac:spMkLst>
        </pc:spChg>
        <pc:spChg chg="add del mod">
          <ac:chgData name="Wang, Han" userId="9a056b73-0254-4e07-9351-ba9f4ce96737" providerId="ADAL" clId="{BE80FE12-4646-4FA4-A284-ABB4D2A3A409}" dt="2024-03-20T10:30:53.468" v="3478" actId="478"/>
          <ac:spMkLst>
            <pc:docMk/>
            <pc:sldMk cId="3426402368" sldId="359"/>
            <ac:spMk id="94" creationId="{15E8FBBB-AB2F-6675-2419-77E314FD0A56}"/>
          </ac:spMkLst>
        </pc:spChg>
        <pc:spChg chg="add del mod">
          <ac:chgData name="Wang, Han" userId="9a056b73-0254-4e07-9351-ba9f4ce96737" providerId="ADAL" clId="{BE80FE12-4646-4FA4-A284-ABB4D2A3A409}" dt="2024-03-20T10:30:53.468" v="3478" actId="478"/>
          <ac:spMkLst>
            <pc:docMk/>
            <pc:sldMk cId="3426402368" sldId="359"/>
            <ac:spMk id="95" creationId="{DAD2F996-DCE9-79A4-5917-867D569110E4}"/>
          </ac:spMkLst>
        </pc:spChg>
        <pc:spChg chg="add del mod">
          <ac:chgData name="Wang, Han" userId="9a056b73-0254-4e07-9351-ba9f4ce96737" providerId="ADAL" clId="{BE80FE12-4646-4FA4-A284-ABB4D2A3A409}" dt="2024-03-20T10:30:53.468" v="3478" actId="478"/>
          <ac:spMkLst>
            <pc:docMk/>
            <pc:sldMk cId="3426402368" sldId="359"/>
            <ac:spMk id="96" creationId="{CEBF923C-EA42-1810-6214-3F4B0686C640}"/>
          </ac:spMkLst>
        </pc:spChg>
        <pc:spChg chg="add del mod">
          <ac:chgData name="Wang, Han" userId="9a056b73-0254-4e07-9351-ba9f4ce96737" providerId="ADAL" clId="{BE80FE12-4646-4FA4-A284-ABB4D2A3A409}" dt="2024-03-20T10:30:53.468" v="3478" actId="478"/>
          <ac:spMkLst>
            <pc:docMk/>
            <pc:sldMk cId="3426402368" sldId="359"/>
            <ac:spMk id="97" creationId="{4CDD1C06-BBD9-A468-5E3F-F28C5481D072}"/>
          </ac:spMkLst>
        </pc:spChg>
        <pc:spChg chg="add del mod">
          <ac:chgData name="Wang, Han" userId="9a056b73-0254-4e07-9351-ba9f4ce96737" providerId="ADAL" clId="{BE80FE12-4646-4FA4-A284-ABB4D2A3A409}" dt="2024-03-20T10:30:53.468" v="3478" actId="478"/>
          <ac:spMkLst>
            <pc:docMk/>
            <pc:sldMk cId="3426402368" sldId="359"/>
            <ac:spMk id="98" creationId="{55D0B604-A70A-95C6-1740-293020DF66C8}"/>
          </ac:spMkLst>
        </pc:spChg>
        <pc:spChg chg="add del mod">
          <ac:chgData name="Wang, Han" userId="9a056b73-0254-4e07-9351-ba9f4ce96737" providerId="ADAL" clId="{BE80FE12-4646-4FA4-A284-ABB4D2A3A409}" dt="2024-03-20T10:30:53.468" v="3478" actId="478"/>
          <ac:spMkLst>
            <pc:docMk/>
            <pc:sldMk cId="3426402368" sldId="359"/>
            <ac:spMk id="99" creationId="{60DFE1E2-C149-0679-563D-7823F8F24750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0" creationId="{96106FF4-5CB2-EBA0-B5B2-51AD1AE9692F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1" creationId="{0207802A-1119-18DB-385D-20E199CB9AFE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2" creationId="{29396F5F-761B-9DC7-F60F-AA2B90720883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3" creationId="{1561F909-6820-9F5B-AAB7-29DEDB788E92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4" creationId="{F7C3EFD9-3BAC-3299-C2E2-8A4D552CDF44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5" creationId="{8651448C-AB73-3B1B-AA17-0CF242AFE650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6" creationId="{E77BFC01-8FC6-9D1C-FA01-1B74E3CAD84B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7" creationId="{D3D5B2C4-BEB4-3B29-3071-AFDB0B56535E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8" creationId="{384CE2D2-038C-2831-ECAF-5FF656FE4470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09" creationId="{ACC6189D-9062-CE5D-D9B0-78AB3C4A44C0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0" creationId="{24085153-E531-9B91-8DD0-885B334D80A9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1" creationId="{990735C9-7A86-AD17-CA8A-190539D9F44E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2" creationId="{907606D0-5496-680D-548D-FC5904A0AE72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3" creationId="{B70A1E02-A13C-765F-B822-01527FC570CE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4" creationId="{9A396481-0F06-19AF-4BC7-9DA36D4A5E98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5" creationId="{84D18F39-AB9A-0994-85DD-95ED24EBD35D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6" creationId="{6D735CCE-C498-5610-652A-CF9FD20F5E34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7" creationId="{D4F80377-EE7F-B77F-21CD-8D68DA83110B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8" creationId="{301FAD67-7E45-A799-353D-4336F62F5899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19" creationId="{1D465DEA-482D-AA2E-AE65-F2C8AFF428E1}"/>
          </ac:spMkLst>
        </pc:spChg>
        <pc:spChg chg="add del mod">
          <ac:chgData name="Wang, Han" userId="9a056b73-0254-4e07-9351-ba9f4ce96737" providerId="ADAL" clId="{BE80FE12-4646-4FA4-A284-ABB4D2A3A409}" dt="2024-03-20T10:31:10.940" v="3480" actId="478"/>
          <ac:spMkLst>
            <pc:docMk/>
            <pc:sldMk cId="3426402368" sldId="359"/>
            <ac:spMk id="120" creationId="{DAED7A8B-BEC1-A386-F600-DFE4F2115108}"/>
          </ac:spMkLst>
        </pc:spChg>
        <pc:spChg chg="add mod">
          <ac:chgData name="Wang, Han" userId="9a056b73-0254-4e07-9351-ba9f4ce96737" providerId="ADAL" clId="{BE80FE12-4646-4FA4-A284-ABB4D2A3A409}" dt="2024-03-20T10:54:25.019" v="3604" actId="1076"/>
          <ac:spMkLst>
            <pc:docMk/>
            <pc:sldMk cId="3426402368" sldId="359"/>
            <ac:spMk id="121" creationId="{F6133807-DBB9-9366-5F7A-250CCCD9E823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22" creationId="{5375C640-F837-2B52-D92F-32A1C6D7630E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23" creationId="{931FDD28-39C4-FF61-6894-E75A3EB8EAFA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24" creationId="{C29FA48C-5B47-BF97-40AB-C50E19383F76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25" creationId="{2EB597EE-F132-7EA9-A52B-2ACEE3CC5629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26" creationId="{6BCD0865-AE6A-ABAF-D023-44569D041358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27" creationId="{165E2583-4C88-21A8-0D34-74760BBBABC0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28" creationId="{0C691302-60D5-A280-32F7-B567763C9788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29" creationId="{D75E3936-45ED-0414-787B-337AB02FC071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0" creationId="{9DFA8999-29D3-5AA7-E96A-2FC5F3F657A4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1" creationId="{B055550E-59C5-936D-A863-90882AECD5DA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2" creationId="{0AB0285C-ADCD-D115-D7A7-3BCB389B21C3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3" creationId="{B69D60A2-47DB-6437-730F-ED0DC704AA9D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4" creationId="{79498DC8-F8BF-EB15-E8AD-EBF28CE95290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5" creationId="{0139902B-F33B-35DC-5C0B-99CE0E32D757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6" creationId="{092A69EB-4668-1911-6851-985581CE781A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7" creationId="{FF23539E-7106-B370-8A03-F57C9AACF16C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8" creationId="{EE083A50-0A22-96F7-6768-F160F7A7682F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39" creationId="{A5466B5F-C6E8-0B47-2200-AFCEDAE756E9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0" creationId="{D4852695-BA07-8804-FAC3-A259FB3A39DE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1" creationId="{1368F7C1-7F48-19F9-98BB-49F1C2B3BB76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2" creationId="{63CA9CAD-F8D1-077E-7F8C-1B55451CA183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3" creationId="{AA683F1A-8723-953C-9A1C-A87756C97E63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4" creationId="{01E40734-774B-EB16-18C3-C92CF5751630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5" creationId="{75D1F379-2C24-93CF-8AF0-61BFCC00D234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6" creationId="{EC605ACF-B736-342C-F9DD-092BCEDF6268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7" creationId="{ECEC82E0-E275-CF00-3157-EACE38816C1E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8" creationId="{19B185C4-BD03-2F96-2992-C832628ABAB2}"/>
          </ac:spMkLst>
        </pc:spChg>
        <pc:spChg chg="add del mod">
          <ac:chgData name="Wang, Han" userId="9a056b73-0254-4e07-9351-ba9f4ce96737" providerId="ADAL" clId="{BE80FE12-4646-4FA4-A284-ABB4D2A3A409}" dt="2024-03-20T10:32:07.373" v="3498" actId="478"/>
          <ac:spMkLst>
            <pc:docMk/>
            <pc:sldMk cId="3426402368" sldId="359"/>
            <ac:spMk id="149" creationId="{1F82DD28-8FBC-DAFB-266E-B13A26622AC5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0" creationId="{B0AFB9BA-93E3-A4A2-65B0-EE123404E70D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1" creationId="{7E8E3F7A-4EC9-C8AD-C606-AEA59D5B5F40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2" creationId="{2D693BC0-E88C-B67F-A11D-F153A1DE5CBB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3" creationId="{790F8C79-7A5D-4161-6E8C-35C496B7A4F3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4" creationId="{74EE4173-6302-2E91-D919-97C8AF98B283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5" creationId="{275C8FCA-4809-48E3-15A6-F32CCE2CDDD3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6" creationId="{68946775-C589-0CBC-EEE4-912E5E404EF2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7" creationId="{E9E5E955-4119-33AF-02F3-42FE4B577947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8" creationId="{B88D76FE-1087-C232-8E93-4E9224397C9B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59" creationId="{7C824DCC-0E91-AE03-D252-22777A4D3D7B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0" creationId="{9CE71AA0-5223-1252-87EB-74FAB2BC7334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1" creationId="{91BC6CB9-184F-62D4-B6B1-DB3C532D383A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2" creationId="{EB6EA6F6-D2A7-FDB0-A628-43392FDD636C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3" creationId="{353F1164-95D6-0CB2-E7B1-C53AA693D686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4" creationId="{2D04BB59-DFF7-AFD3-F206-CEC814B1B86A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5" creationId="{2BF4B121-F336-4A7E-EC17-9838DC0FA279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6" creationId="{BA677841-B356-F74D-E806-522024BF0001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7" creationId="{19095A2A-2994-86BF-5D99-75502B6B01F4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8" creationId="{A691CCAB-4704-48E7-799F-94F6429F12CE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69" creationId="{4B1195B3-D54D-B1C2-E74C-75E98707F57D}"/>
          </ac:spMkLst>
        </pc:spChg>
        <pc:spChg chg="add mod">
          <ac:chgData name="Wang, Han" userId="9a056b73-0254-4e07-9351-ba9f4ce96737" providerId="ADAL" clId="{BE80FE12-4646-4FA4-A284-ABB4D2A3A409}" dt="2024-03-20T10:36:10.591" v="3580" actId="1076"/>
          <ac:spMkLst>
            <pc:docMk/>
            <pc:sldMk cId="3426402368" sldId="359"/>
            <ac:spMk id="170" creationId="{572794D9-F4DE-0F60-3AC7-3EAA85CF1AD0}"/>
          </ac:spMkLst>
        </pc:spChg>
        <pc:spChg chg="add mod">
          <ac:chgData name="Wang, Han" userId="9a056b73-0254-4e07-9351-ba9f4ce96737" providerId="ADAL" clId="{BE80FE12-4646-4FA4-A284-ABB4D2A3A409}" dt="2024-03-20T10:36:31.468" v="3603" actId="1076"/>
          <ac:spMkLst>
            <pc:docMk/>
            <pc:sldMk cId="3426402368" sldId="359"/>
            <ac:spMk id="171" creationId="{8A6D8F2B-BD57-63BD-260B-0BF78EDB8D8A}"/>
          </ac:spMkLst>
        </pc:spChg>
        <pc:spChg chg="mod">
          <ac:chgData name="Wang, Han" userId="9a056b73-0254-4e07-9351-ba9f4ce96737" providerId="ADAL" clId="{BE80FE12-4646-4FA4-A284-ABB4D2A3A409}" dt="2024-03-20T10:55:31.595" v="3605" actId="571"/>
          <ac:spMkLst>
            <pc:docMk/>
            <pc:sldMk cId="3426402368" sldId="359"/>
            <ac:spMk id="173" creationId="{BFAD1FE0-1B35-CE7F-785D-75AE14D25E72}"/>
          </ac:spMkLst>
        </pc:spChg>
        <pc:spChg chg="mod">
          <ac:chgData name="Wang, Han" userId="9a056b73-0254-4e07-9351-ba9f4ce96737" providerId="ADAL" clId="{BE80FE12-4646-4FA4-A284-ABB4D2A3A409}" dt="2024-03-20T10:55:57.080" v="3635" actId="14100"/>
          <ac:spMkLst>
            <pc:docMk/>
            <pc:sldMk cId="3426402368" sldId="359"/>
            <ac:spMk id="174" creationId="{0326288B-AED4-6AF9-A971-57E1746D31A9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175" creationId="{8E28CE19-2ECF-B160-9526-B951217F60D2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176" creationId="{62C5253C-9543-611E-F48A-F12DB89FCE47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177" creationId="{84413F46-29FF-2238-0A98-F1848F88D959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178" creationId="{5D4AAF2A-C1F4-2334-6BC5-B9C3117A64FA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179" creationId="{A3DF6A24-912C-BD3E-4B4B-32368ABB03DE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180" creationId="{F0EE2E42-56A1-B808-EA84-FCBEFA3A4811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181" creationId="{DC0C66A3-94C2-63F2-7684-B972D00779AD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82" creationId="{25A1DD20-0420-DD07-DDA1-B33B0BE6BDDA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83" creationId="{E89CD248-41A9-F0A5-A6D9-1644428FBFDB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84" creationId="{98553C2D-84D7-AA25-A99C-5DCE1A82B3C5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85" creationId="{F84FFB2E-A0A7-8432-29E3-7D2657DE2955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86" creationId="{83FAE4B9-35E5-1300-CBE2-03BDE98965A1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87" creationId="{8C110B8B-2432-E14E-FF9F-B1EF30D72F02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88" creationId="{AC7CFE92-5BF8-88B1-9E07-B8A06D100D2C}"/>
          </ac:spMkLst>
        </pc:spChg>
        <pc:spChg chg="add del mod">
          <ac:chgData name="Wang, Han" userId="9a056b73-0254-4e07-9351-ba9f4ce96737" providerId="ADAL" clId="{BE80FE12-4646-4FA4-A284-ABB4D2A3A409}" dt="2024-03-20T11:01:06.505" v="3665" actId="478"/>
          <ac:spMkLst>
            <pc:docMk/>
            <pc:sldMk cId="3426402368" sldId="359"/>
            <ac:spMk id="189" creationId="{8F4B2658-AD60-87CD-1D4D-9ED68EF85E04}"/>
          </ac:spMkLst>
        </pc:spChg>
        <pc:spChg chg="add del mod">
          <ac:chgData name="Wang, Han" userId="9a056b73-0254-4e07-9351-ba9f4ce96737" providerId="ADAL" clId="{BE80FE12-4646-4FA4-A284-ABB4D2A3A409}" dt="2024-03-20T11:01:06.505" v="3665" actId="478"/>
          <ac:spMkLst>
            <pc:docMk/>
            <pc:sldMk cId="3426402368" sldId="359"/>
            <ac:spMk id="190" creationId="{4169E88B-9F76-32C9-BEC0-B694A5B9B101}"/>
          </ac:spMkLst>
        </pc:spChg>
        <pc:spChg chg="add del mod">
          <ac:chgData name="Wang, Han" userId="9a056b73-0254-4e07-9351-ba9f4ce96737" providerId="ADAL" clId="{BE80FE12-4646-4FA4-A284-ABB4D2A3A409}" dt="2024-03-20T11:01:06.505" v="3665" actId="478"/>
          <ac:spMkLst>
            <pc:docMk/>
            <pc:sldMk cId="3426402368" sldId="359"/>
            <ac:spMk id="191" creationId="{21BBBD6F-CADE-5F6A-9044-77E00D92AAC7}"/>
          </ac:spMkLst>
        </pc:spChg>
        <pc:spChg chg="add del mod">
          <ac:chgData name="Wang, Han" userId="9a056b73-0254-4e07-9351-ba9f4ce96737" providerId="ADAL" clId="{BE80FE12-4646-4FA4-A284-ABB4D2A3A409}" dt="2024-03-20T11:01:06.505" v="3665" actId="478"/>
          <ac:spMkLst>
            <pc:docMk/>
            <pc:sldMk cId="3426402368" sldId="359"/>
            <ac:spMk id="192" creationId="{AABD6D2D-ADF1-F798-88E8-764217FFBC80}"/>
          </ac:spMkLst>
        </pc:spChg>
        <pc:spChg chg="add del mod">
          <ac:chgData name="Wang, Han" userId="9a056b73-0254-4e07-9351-ba9f4ce96737" providerId="ADAL" clId="{BE80FE12-4646-4FA4-A284-ABB4D2A3A409}" dt="2024-03-20T11:01:06.505" v="3665" actId="478"/>
          <ac:spMkLst>
            <pc:docMk/>
            <pc:sldMk cId="3426402368" sldId="359"/>
            <ac:spMk id="193" creationId="{5BE0D881-E45B-6692-4D51-508D86B7D50E}"/>
          </ac:spMkLst>
        </pc:spChg>
        <pc:spChg chg="add del mod">
          <ac:chgData name="Wang, Han" userId="9a056b73-0254-4e07-9351-ba9f4ce96737" providerId="ADAL" clId="{BE80FE12-4646-4FA4-A284-ABB4D2A3A409}" dt="2024-03-20T11:01:06.505" v="3665" actId="478"/>
          <ac:spMkLst>
            <pc:docMk/>
            <pc:sldMk cId="3426402368" sldId="359"/>
            <ac:spMk id="194" creationId="{D268BDFC-2A4B-A671-172B-BAF398D4A98A}"/>
          </ac:spMkLst>
        </pc:spChg>
        <pc:spChg chg="add del mod">
          <ac:chgData name="Wang, Han" userId="9a056b73-0254-4e07-9351-ba9f4ce96737" providerId="ADAL" clId="{BE80FE12-4646-4FA4-A284-ABB4D2A3A409}" dt="2024-03-20T11:01:06.505" v="3665" actId="478"/>
          <ac:spMkLst>
            <pc:docMk/>
            <pc:sldMk cId="3426402368" sldId="359"/>
            <ac:spMk id="195" creationId="{BB0506D7-892A-5A5B-6A2E-EF56778327F5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96" creationId="{DBDA58E9-F67A-D237-FE27-844CAB0E6D6A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97" creationId="{6AFF3117-D702-1316-A7C8-87DE7218AB18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98" creationId="{AD3739DA-2C51-9264-231C-7509B681E72A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199" creationId="{B1F64E95-CCCE-F02D-86FF-FE34CDD88F35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200" creationId="{936AF58B-284F-2B58-5662-A1B144F56C3D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201" creationId="{00B73283-F22D-C111-2476-364C03C84049}"/>
          </ac:spMkLst>
        </pc:spChg>
        <pc:spChg chg="add del mod">
          <ac:chgData name="Wang, Han" userId="9a056b73-0254-4e07-9351-ba9f4ce96737" providerId="ADAL" clId="{BE80FE12-4646-4FA4-A284-ABB4D2A3A409}" dt="2024-03-20T10:55:36.698" v="3606" actId="478"/>
          <ac:spMkLst>
            <pc:docMk/>
            <pc:sldMk cId="3426402368" sldId="359"/>
            <ac:spMk id="202" creationId="{FED3F54A-5DC1-62CD-2DFC-B3B0CC1BE8AD}"/>
          </ac:spMkLst>
        </pc:spChg>
        <pc:spChg chg="add mod">
          <ac:chgData name="Wang, Han" userId="9a056b73-0254-4e07-9351-ba9f4ce96737" providerId="ADAL" clId="{BE80FE12-4646-4FA4-A284-ABB4D2A3A409}" dt="2024-04-11T09:24:48.120" v="6367" actId="14100"/>
          <ac:spMkLst>
            <pc:docMk/>
            <pc:sldMk cId="3426402368" sldId="359"/>
            <ac:spMk id="203" creationId="{6B371811-5D91-0452-481D-EFEFAAF91244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204" creationId="{10D1241B-6910-2B34-6871-5D47D840D686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205" creationId="{C60BF88C-8234-6C98-3827-E35EC1274053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206" creationId="{D7CBCF9E-C040-451C-5AF6-0FB9FB37CC7E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207" creationId="{4989D2F4-281C-1E6C-0354-D2A9F467668E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208" creationId="{50D21C24-04D5-FBB0-28E2-B47ED6ED9195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209" creationId="{4F5E4D9E-F358-7BC2-E472-E58019E52F4A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210" creationId="{FD66D1AD-A39B-64C3-48AF-BD1F2C9F17AE}"/>
          </ac:spMkLst>
        </pc:spChg>
        <pc:spChg chg="add mod">
          <ac:chgData name="Wang, Han" userId="9a056b73-0254-4e07-9351-ba9f4ce96737" providerId="ADAL" clId="{BE80FE12-4646-4FA4-A284-ABB4D2A3A409}" dt="2024-04-11T09:24:35.338" v="6364" actId="1076"/>
          <ac:spMkLst>
            <pc:docMk/>
            <pc:sldMk cId="3426402368" sldId="359"/>
            <ac:spMk id="211" creationId="{021FF4C6-B054-282C-F249-18A454D8EF6C}"/>
          </ac:spMkLst>
        </pc:spChg>
        <pc:grpChg chg="add mod">
          <ac:chgData name="Wang, Han" userId="9a056b73-0254-4e07-9351-ba9f4ce96737" providerId="ADAL" clId="{BE80FE12-4646-4FA4-A284-ABB4D2A3A409}" dt="2024-03-20T10:27:40.613" v="3462" actId="1076"/>
          <ac:grpSpMkLst>
            <pc:docMk/>
            <pc:sldMk cId="3426402368" sldId="359"/>
            <ac:grpSpMk id="8" creationId="{B987B51C-727A-5C89-35FE-D2294FF1CB7F}"/>
          </ac:grpSpMkLst>
        </pc:grpChg>
        <pc:grpChg chg="add del mod">
          <ac:chgData name="Wang, Han" userId="9a056b73-0254-4e07-9351-ba9f4ce96737" providerId="ADAL" clId="{BE80FE12-4646-4FA4-A284-ABB4D2A3A409}" dt="2024-03-20T08:55:37.959" v="3264" actId="478"/>
          <ac:grpSpMkLst>
            <pc:docMk/>
            <pc:sldMk cId="3426402368" sldId="359"/>
            <ac:grpSpMk id="39" creationId="{ACAA3D33-96DB-4E45-41BB-A79AE5919EE9}"/>
          </ac:grpSpMkLst>
        </pc:grpChg>
        <pc:grpChg chg="add mod">
          <ac:chgData name="Wang, Han" userId="9a056b73-0254-4e07-9351-ba9f4ce96737" providerId="ADAL" clId="{BE80FE12-4646-4FA4-A284-ABB4D2A3A409}" dt="2024-03-20T10:27:40.613" v="3462" actId="1076"/>
          <ac:grpSpMkLst>
            <pc:docMk/>
            <pc:sldMk cId="3426402368" sldId="359"/>
            <ac:grpSpMk id="42" creationId="{B2F1A5B0-36D0-12FE-99A1-D6F39C3CC9A7}"/>
          </ac:grpSpMkLst>
        </pc:grpChg>
        <pc:grpChg chg="add mod">
          <ac:chgData name="Wang, Han" userId="9a056b73-0254-4e07-9351-ba9f4ce96737" providerId="ADAL" clId="{BE80FE12-4646-4FA4-A284-ABB4D2A3A409}" dt="2024-03-20T10:27:40.613" v="3462" actId="1076"/>
          <ac:grpSpMkLst>
            <pc:docMk/>
            <pc:sldMk cId="3426402368" sldId="359"/>
            <ac:grpSpMk id="52" creationId="{3658AF83-85F6-639F-7EDD-761D7AB8946C}"/>
          </ac:grpSpMkLst>
        </pc:grpChg>
        <pc:grpChg chg="add mod">
          <ac:chgData name="Wang, Han" userId="9a056b73-0254-4e07-9351-ba9f4ce96737" providerId="ADAL" clId="{BE80FE12-4646-4FA4-A284-ABB4D2A3A409}" dt="2024-03-20T10:36:10.591" v="3580" actId="1076"/>
          <ac:grpSpMkLst>
            <pc:docMk/>
            <pc:sldMk cId="3426402368" sldId="359"/>
            <ac:grpSpMk id="90" creationId="{712B6D8D-D380-D4B8-7340-88309520257F}"/>
          </ac:grpSpMkLst>
        </pc:grpChg>
        <pc:grpChg chg="add mod">
          <ac:chgData name="Wang, Han" userId="9a056b73-0254-4e07-9351-ba9f4ce96737" providerId="ADAL" clId="{BE80FE12-4646-4FA4-A284-ABB4D2A3A409}" dt="2024-04-11T09:24:35.338" v="6364" actId="1076"/>
          <ac:grpSpMkLst>
            <pc:docMk/>
            <pc:sldMk cId="3426402368" sldId="359"/>
            <ac:grpSpMk id="172" creationId="{5D29A7A9-ABD9-1DEF-3AF8-5CDE4B6A8F4B}"/>
          </ac:grpSpMkLst>
        </pc:grpChg>
        <pc:cxnChg chg="add mod">
          <ac:chgData name="Wang, Han" userId="9a056b73-0254-4e07-9351-ba9f4ce96737" providerId="ADAL" clId="{BE80FE12-4646-4FA4-A284-ABB4D2A3A409}" dt="2024-03-20T10:27:40.613" v="3462" actId="1076"/>
          <ac:cxnSpMkLst>
            <pc:docMk/>
            <pc:sldMk cId="3426402368" sldId="359"/>
            <ac:cxnSpMk id="65" creationId="{7D1A2A39-1FA0-72DF-8279-A2310CC3D270}"/>
          </ac:cxnSpMkLst>
        </pc:cxnChg>
        <pc:cxnChg chg="add mod">
          <ac:chgData name="Wang, Han" userId="9a056b73-0254-4e07-9351-ba9f4ce96737" providerId="ADAL" clId="{BE80FE12-4646-4FA4-A284-ABB4D2A3A409}" dt="2024-03-20T10:27:40.613" v="3462" actId="1076"/>
          <ac:cxnSpMkLst>
            <pc:docMk/>
            <pc:sldMk cId="3426402368" sldId="359"/>
            <ac:cxnSpMk id="70" creationId="{6018455F-1CCF-9F3F-8FA2-799FCF7FD0E9}"/>
          </ac:cxnSpMkLst>
        </pc:cxnChg>
        <pc:cxnChg chg="add mod">
          <ac:chgData name="Wang, Han" userId="9a056b73-0254-4e07-9351-ba9f4ce96737" providerId="ADAL" clId="{BE80FE12-4646-4FA4-A284-ABB4D2A3A409}" dt="2024-03-20T10:27:40.613" v="3462" actId="1076"/>
          <ac:cxnSpMkLst>
            <pc:docMk/>
            <pc:sldMk cId="3426402368" sldId="359"/>
            <ac:cxnSpMk id="80" creationId="{88715770-312F-25DD-657F-4322CCBD040D}"/>
          </ac:cxnSpMkLst>
        </pc:cxnChg>
        <pc:cxnChg chg="add mod">
          <ac:chgData name="Wang, Han" userId="9a056b73-0254-4e07-9351-ba9f4ce96737" providerId="ADAL" clId="{BE80FE12-4646-4FA4-A284-ABB4D2A3A409}" dt="2024-03-20T10:27:40.613" v="3462" actId="1076"/>
          <ac:cxnSpMkLst>
            <pc:docMk/>
            <pc:sldMk cId="3426402368" sldId="359"/>
            <ac:cxnSpMk id="83" creationId="{2F7500F5-408E-3861-8FF4-2A61EDD8FAD8}"/>
          </ac:cxnSpMkLst>
        </pc:cxnChg>
        <pc:cxnChg chg="add mod">
          <ac:chgData name="Wang, Han" userId="9a056b73-0254-4e07-9351-ba9f4ce96737" providerId="ADAL" clId="{BE80FE12-4646-4FA4-A284-ABB4D2A3A409}" dt="2024-03-20T10:27:40.613" v="3462" actId="1076"/>
          <ac:cxnSpMkLst>
            <pc:docMk/>
            <pc:sldMk cId="3426402368" sldId="359"/>
            <ac:cxnSpMk id="86" creationId="{5DBB5646-6174-C44A-F0B5-9D938A73DA4F}"/>
          </ac:cxnSpMkLst>
        </pc:cxnChg>
      </pc:sldChg>
      <pc:sldChg chg="addSp delSp modSp new mod">
        <pc:chgData name="Wang, Han" userId="9a056b73-0254-4e07-9351-ba9f4ce96737" providerId="ADAL" clId="{BE80FE12-4646-4FA4-A284-ABB4D2A3A409}" dt="2024-03-21T11:04:26.037" v="4890" actId="14100"/>
        <pc:sldMkLst>
          <pc:docMk/>
          <pc:sldMk cId="2324087577" sldId="360"/>
        </pc:sldMkLst>
        <pc:spChg chg="mod">
          <ac:chgData name="Wang, Han" userId="9a056b73-0254-4e07-9351-ba9f4ce96737" providerId="ADAL" clId="{BE80FE12-4646-4FA4-A284-ABB4D2A3A409}" dt="2024-03-19T14:22:17.503" v="2596" actId="790"/>
          <ac:spMkLst>
            <pc:docMk/>
            <pc:sldMk cId="2324087577" sldId="360"/>
            <ac:spMk id="2" creationId="{ED941F6D-09D1-C401-1038-25B2D7688080}"/>
          </ac:spMkLst>
        </pc:spChg>
        <pc:spChg chg="mod">
          <ac:chgData name="Wang, Han" userId="9a056b73-0254-4e07-9351-ba9f4ce96737" providerId="ADAL" clId="{BE80FE12-4646-4FA4-A284-ABB4D2A3A409}" dt="2024-03-19T14:22:17.503" v="2596" actId="790"/>
          <ac:spMkLst>
            <pc:docMk/>
            <pc:sldMk cId="2324087577" sldId="360"/>
            <ac:spMk id="6" creationId="{55D6662B-D5CA-39C4-DF4C-D399CC2FCD3A}"/>
          </ac:spMkLst>
        </pc:spChg>
        <pc:spChg chg="del">
          <ac:chgData name="Wang, Han" userId="9a056b73-0254-4e07-9351-ba9f4ce96737" providerId="ADAL" clId="{BE80FE12-4646-4FA4-A284-ABB4D2A3A409}" dt="2024-03-20T13:44:54.252" v="4182" actId="478"/>
          <ac:spMkLst>
            <pc:docMk/>
            <pc:sldMk cId="2324087577" sldId="360"/>
            <ac:spMk id="7" creationId="{C9F49C07-F3C9-E126-B689-BF4B411733C8}"/>
          </ac:spMkLst>
        </pc:spChg>
        <pc:spChg chg="add mod">
          <ac:chgData name="Wang, Han" userId="9a056b73-0254-4e07-9351-ba9f4ce96737" providerId="ADAL" clId="{BE80FE12-4646-4FA4-A284-ABB4D2A3A409}" dt="2024-03-21T11:01:10.355" v="4881" actId="1076"/>
          <ac:spMkLst>
            <pc:docMk/>
            <pc:sldMk cId="2324087577" sldId="360"/>
            <ac:spMk id="7" creationId="{E1F0C8D4-9ED0-811E-A5ED-93932789539E}"/>
          </ac:spMkLst>
        </pc:spChg>
        <pc:spChg chg="add mod">
          <ac:chgData name="Wang, Han" userId="9a056b73-0254-4e07-9351-ba9f4ce96737" providerId="ADAL" clId="{BE80FE12-4646-4FA4-A284-ABB4D2A3A409}" dt="2024-03-20T14:53:00.922" v="4238" actId="403"/>
          <ac:spMkLst>
            <pc:docMk/>
            <pc:sldMk cId="2324087577" sldId="360"/>
            <ac:spMk id="8" creationId="{9902EEA0-FECC-0F24-F903-1A71067FE9F4}"/>
          </ac:spMkLst>
        </pc:spChg>
        <pc:spChg chg="add mod ord">
          <ac:chgData name="Wang, Han" userId="9a056b73-0254-4e07-9351-ba9f4ce96737" providerId="ADAL" clId="{BE80FE12-4646-4FA4-A284-ABB4D2A3A409}" dt="2024-03-20T14:53:28.312" v="4244" actId="14100"/>
          <ac:spMkLst>
            <pc:docMk/>
            <pc:sldMk cId="2324087577" sldId="360"/>
            <ac:spMk id="9" creationId="{07410BEB-AC85-70EA-A0D4-37735AD823C9}"/>
          </ac:spMkLst>
        </pc:spChg>
        <pc:spChg chg="add del mod">
          <ac:chgData name="Wang, Han" userId="9a056b73-0254-4e07-9351-ba9f4ce96737" providerId="ADAL" clId="{BE80FE12-4646-4FA4-A284-ABB4D2A3A409}" dt="2024-03-20T15:02:24.260" v="4362" actId="478"/>
          <ac:spMkLst>
            <pc:docMk/>
            <pc:sldMk cId="2324087577" sldId="360"/>
            <ac:spMk id="10" creationId="{2C6BCD34-61A2-7276-FABA-E961898B4EA4}"/>
          </ac:spMkLst>
        </pc:spChg>
        <pc:spChg chg="add mod">
          <ac:chgData name="Wang, Han" userId="9a056b73-0254-4e07-9351-ba9f4ce96737" providerId="ADAL" clId="{BE80FE12-4646-4FA4-A284-ABB4D2A3A409}" dt="2024-03-21T11:02:38.202" v="4887" actId="20577"/>
          <ac:spMkLst>
            <pc:docMk/>
            <pc:sldMk cId="2324087577" sldId="360"/>
            <ac:spMk id="10" creationId="{3218BD44-B9C2-C989-F60D-B95E5016D0A5}"/>
          </ac:spMkLst>
        </pc:spChg>
        <pc:spChg chg="add del mod">
          <ac:chgData name="Wang, Han" userId="9a056b73-0254-4e07-9351-ba9f4ce96737" providerId="ADAL" clId="{BE80FE12-4646-4FA4-A284-ABB4D2A3A409}" dt="2024-03-21T10:49:28.418" v="4748" actId="478"/>
          <ac:spMkLst>
            <pc:docMk/>
            <pc:sldMk cId="2324087577" sldId="360"/>
            <ac:spMk id="11" creationId="{BD2646E7-8093-DB5D-9D63-F38D0D9A2D18}"/>
          </ac:spMkLst>
        </pc:spChg>
        <pc:spChg chg="add mod">
          <ac:chgData name="Wang, Han" userId="9a056b73-0254-4e07-9351-ba9f4ce96737" providerId="ADAL" clId="{BE80FE12-4646-4FA4-A284-ABB4D2A3A409}" dt="2024-03-20T15:18:07.111" v="4393" actId="207"/>
          <ac:spMkLst>
            <pc:docMk/>
            <pc:sldMk cId="2324087577" sldId="360"/>
            <ac:spMk id="12" creationId="{A11009EE-926C-3B4E-D89B-8FA8587D0100}"/>
          </ac:spMkLst>
        </pc:spChg>
        <pc:spChg chg="add mod ord">
          <ac:chgData name="Wang, Han" userId="9a056b73-0254-4e07-9351-ba9f4ce96737" providerId="ADAL" clId="{BE80FE12-4646-4FA4-A284-ABB4D2A3A409}" dt="2024-03-20T15:04:23.276" v="4376" actId="1076"/>
          <ac:spMkLst>
            <pc:docMk/>
            <pc:sldMk cId="2324087577" sldId="360"/>
            <ac:spMk id="13" creationId="{8E1C0201-6FDE-11CE-6417-AE4955E242A1}"/>
          </ac:spMkLst>
        </pc:spChg>
        <pc:spChg chg="add mod">
          <ac:chgData name="Wang, Han" userId="9a056b73-0254-4e07-9351-ba9f4ce96737" providerId="ADAL" clId="{BE80FE12-4646-4FA4-A284-ABB4D2A3A409}" dt="2024-03-20T15:05:13.385" v="4382" actId="14100"/>
          <ac:spMkLst>
            <pc:docMk/>
            <pc:sldMk cId="2324087577" sldId="360"/>
            <ac:spMk id="14" creationId="{5EE0EB21-92C5-1325-8860-ACD8E19446CA}"/>
          </ac:spMkLst>
        </pc:spChg>
        <pc:spChg chg="add mod">
          <ac:chgData name="Wang, Han" userId="9a056b73-0254-4e07-9351-ba9f4ce96737" providerId="ADAL" clId="{BE80FE12-4646-4FA4-A284-ABB4D2A3A409}" dt="2024-03-21T10:56:50.384" v="4799" actId="1076"/>
          <ac:spMkLst>
            <pc:docMk/>
            <pc:sldMk cId="2324087577" sldId="360"/>
            <ac:spMk id="15" creationId="{7AB4BADB-9D19-2F47-AF51-DE41629F66E2}"/>
          </ac:spMkLst>
        </pc:spChg>
        <pc:spChg chg="add del mod">
          <ac:chgData name="Wang, Han" userId="9a056b73-0254-4e07-9351-ba9f4ce96737" providerId="ADAL" clId="{BE80FE12-4646-4FA4-A284-ABB4D2A3A409}" dt="2024-03-20T15:37:43.063" v="4406" actId="478"/>
          <ac:spMkLst>
            <pc:docMk/>
            <pc:sldMk cId="2324087577" sldId="360"/>
            <ac:spMk id="16" creationId="{B9715AF6-39D7-CEFE-E183-828B30B4777E}"/>
          </ac:spMkLst>
        </pc:spChg>
        <pc:spChg chg="add mod">
          <ac:chgData name="Wang, Han" userId="9a056b73-0254-4e07-9351-ba9f4ce96737" providerId="ADAL" clId="{BE80FE12-4646-4FA4-A284-ABB4D2A3A409}" dt="2024-03-21T11:01:13.696" v="4882" actId="1076"/>
          <ac:spMkLst>
            <pc:docMk/>
            <pc:sldMk cId="2324087577" sldId="360"/>
            <ac:spMk id="16" creationId="{F84D3D12-11DB-960B-1828-04CD00BBB150}"/>
          </ac:spMkLst>
        </pc:spChg>
        <pc:spChg chg="add mod">
          <ac:chgData name="Wang, Han" userId="9a056b73-0254-4e07-9351-ba9f4ce96737" providerId="ADAL" clId="{BE80FE12-4646-4FA4-A284-ABB4D2A3A409}" dt="2024-03-20T15:37:25.642" v="4402" actId="208"/>
          <ac:spMkLst>
            <pc:docMk/>
            <pc:sldMk cId="2324087577" sldId="360"/>
            <ac:spMk id="17" creationId="{0BED0A02-E565-BFEE-1BA2-353420FE12D3}"/>
          </ac:spMkLst>
        </pc:spChg>
        <pc:spChg chg="add mod">
          <ac:chgData name="Wang, Han" userId="9a056b73-0254-4e07-9351-ba9f4ce96737" providerId="ADAL" clId="{BE80FE12-4646-4FA4-A284-ABB4D2A3A409}" dt="2024-03-20T15:37:40.175" v="4405" actId="208"/>
          <ac:spMkLst>
            <pc:docMk/>
            <pc:sldMk cId="2324087577" sldId="360"/>
            <ac:spMk id="18" creationId="{20B2F4F4-711A-4F84-4666-E87F97557271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19" creationId="{80A9E218-C23D-4BF9-0712-ABC7AB006AD2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20" creationId="{107939CB-E7A1-CE85-DF75-68ADF23EE1C8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21" creationId="{69AAFA77-3609-DFC5-E6C4-CEF5CD2F17F9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22" creationId="{6909AA2A-0D7B-2C5B-F6E2-7F8F87BCEB18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23" creationId="{68087C78-8921-10FA-8B31-556633CE078C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24" creationId="{06B58031-536B-7F4F-34E1-EC7AF6FFD050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25" creationId="{A49DE664-340B-C247-E06F-3BA29DE25995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26" creationId="{46AA716A-C1C1-CCFA-5B41-AB59D0B3E90A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27" creationId="{2E8F7A8D-A332-C8B9-32D4-F7826D680E15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28" creationId="{67D5DB96-2635-B84F-DF34-E97E611AC560}"/>
          </ac:spMkLst>
        </pc:spChg>
        <pc:spChg chg="add del">
          <ac:chgData name="Wang, Han" userId="9a056b73-0254-4e07-9351-ba9f4ce96737" providerId="ADAL" clId="{BE80FE12-4646-4FA4-A284-ABB4D2A3A409}" dt="2024-03-20T16:25:25.753" v="4549" actId="478"/>
          <ac:spMkLst>
            <pc:docMk/>
            <pc:sldMk cId="2324087577" sldId="360"/>
            <ac:spMk id="29" creationId="{4599DDB4-5044-C0BA-FBEB-6961C0DEFBC7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30" creationId="{2119BC98-6734-8945-1A85-9EF0AB3E9CAF}"/>
          </ac:spMkLst>
        </pc:spChg>
        <pc:spChg chg="add del mod">
          <ac:chgData name="Wang, Han" userId="9a056b73-0254-4e07-9351-ba9f4ce96737" providerId="ADAL" clId="{BE80FE12-4646-4FA4-A284-ABB4D2A3A409}" dt="2024-03-20T16:26:45.881" v="4559" actId="478"/>
          <ac:spMkLst>
            <pc:docMk/>
            <pc:sldMk cId="2324087577" sldId="360"/>
            <ac:spMk id="31" creationId="{8E93ED29-23EE-954F-EA25-394623781435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32" creationId="{AC2A4687-C384-B75E-215F-E6177D011603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33" creationId="{79B5411A-E9C7-2385-2862-70CB32C82CD2}"/>
          </ac:spMkLst>
        </pc:spChg>
        <pc:spChg chg="add mod">
          <ac:chgData name="Wang, Han" userId="9a056b73-0254-4e07-9351-ba9f4ce96737" providerId="ADAL" clId="{BE80FE12-4646-4FA4-A284-ABB4D2A3A409}" dt="2024-03-21T11:00:58.239" v="4879" actId="1076"/>
          <ac:spMkLst>
            <pc:docMk/>
            <pc:sldMk cId="2324087577" sldId="360"/>
            <ac:spMk id="34" creationId="{25AFB6F3-1192-9ADA-2D65-F5535E7A0D06}"/>
          </ac:spMkLst>
        </pc:spChg>
        <pc:spChg chg="add del mod">
          <ac:chgData name="Wang, Han" userId="9a056b73-0254-4e07-9351-ba9f4ce96737" providerId="ADAL" clId="{BE80FE12-4646-4FA4-A284-ABB4D2A3A409}" dt="2024-03-20T16:29:09.233" v="4573" actId="478"/>
          <ac:spMkLst>
            <pc:docMk/>
            <pc:sldMk cId="2324087577" sldId="360"/>
            <ac:spMk id="34" creationId="{4252D4BC-4EAF-5253-29F9-FFA677EEB1C0}"/>
          </ac:spMkLst>
        </pc:spChg>
        <pc:spChg chg="add mod">
          <ac:chgData name="Wang, Han" userId="9a056b73-0254-4e07-9351-ba9f4ce96737" providerId="ADAL" clId="{BE80FE12-4646-4FA4-A284-ABB4D2A3A409}" dt="2024-03-21T11:00:58.239" v="4879" actId="1076"/>
          <ac:spMkLst>
            <pc:docMk/>
            <pc:sldMk cId="2324087577" sldId="360"/>
            <ac:spMk id="35" creationId="{66983339-C3A9-1DE7-65F7-23FDE25D497B}"/>
          </ac:spMkLst>
        </pc:spChg>
        <pc:spChg chg="add del mod">
          <ac:chgData name="Wang, Han" userId="9a056b73-0254-4e07-9351-ba9f4ce96737" providerId="ADAL" clId="{BE80FE12-4646-4FA4-A284-ABB4D2A3A409}" dt="2024-03-20T16:29:08.129" v="4572" actId="478"/>
          <ac:spMkLst>
            <pc:docMk/>
            <pc:sldMk cId="2324087577" sldId="360"/>
            <ac:spMk id="35" creationId="{9CA68102-2EFB-EE67-FE71-52F1C466AC66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36" creationId="{39A58730-F53F-D08F-78B9-5BF8ADD53B58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37" creationId="{0A0DE9FF-00D4-29D4-EEBB-2DAC7015B1D7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38" creationId="{F9B6B755-8962-A36B-34B4-77020B3BFF85}"/>
          </ac:spMkLst>
        </pc:spChg>
        <pc:spChg chg="add mod">
          <ac:chgData name="Wang, Han" userId="9a056b73-0254-4e07-9351-ba9f4ce96737" providerId="ADAL" clId="{BE80FE12-4646-4FA4-A284-ABB4D2A3A409}" dt="2024-03-20T16:34:50.335" v="4643" actId="1076"/>
          <ac:spMkLst>
            <pc:docMk/>
            <pc:sldMk cId="2324087577" sldId="360"/>
            <ac:spMk id="39" creationId="{389CCC66-E9D3-E366-0B75-BBD987C8E952}"/>
          </ac:spMkLst>
        </pc:spChg>
        <pc:spChg chg="add mod">
          <ac:chgData name="Wang, Han" userId="9a056b73-0254-4e07-9351-ba9f4ce96737" providerId="ADAL" clId="{BE80FE12-4646-4FA4-A284-ABB4D2A3A409}" dt="2024-03-20T16:34:56.858" v="4644" actId="14100"/>
          <ac:spMkLst>
            <pc:docMk/>
            <pc:sldMk cId="2324087577" sldId="360"/>
            <ac:spMk id="40" creationId="{3B0782B2-4A3B-7447-C36F-57D6EC4CDA2F}"/>
          </ac:spMkLst>
        </pc:spChg>
        <pc:spChg chg="add mod">
          <ac:chgData name="Wang, Han" userId="9a056b73-0254-4e07-9351-ba9f4ce96737" providerId="ADAL" clId="{BE80FE12-4646-4FA4-A284-ABB4D2A3A409}" dt="2024-03-20T16:35:47.732" v="4694" actId="1076"/>
          <ac:spMkLst>
            <pc:docMk/>
            <pc:sldMk cId="2324087577" sldId="360"/>
            <ac:spMk id="41" creationId="{65ED58CD-4EB9-AED1-6C08-9DDB30F0C003}"/>
          </ac:spMkLst>
        </pc:spChg>
        <pc:spChg chg="add mod">
          <ac:chgData name="Wang, Han" userId="9a056b73-0254-4e07-9351-ba9f4ce96737" providerId="ADAL" clId="{BE80FE12-4646-4FA4-A284-ABB4D2A3A409}" dt="2024-03-21T11:01:22.098" v="4884" actId="1076"/>
          <ac:spMkLst>
            <pc:docMk/>
            <pc:sldMk cId="2324087577" sldId="360"/>
            <ac:spMk id="61" creationId="{8523785C-3C6E-E0E5-80E8-7C5FCF6ABD19}"/>
          </ac:spMkLst>
        </pc:spChg>
        <pc:spChg chg="add mod">
          <ac:chgData name="Wang, Han" userId="9a056b73-0254-4e07-9351-ba9f4ce96737" providerId="ADAL" clId="{BE80FE12-4646-4FA4-A284-ABB4D2A3A409}" dt="2024-03-21T11:01:22.098" v="4884" actId="1076"/>
          <ac:spMkLst>
            <pc:docMk/>
            <pc:sldMk cId="2324087577" sldId="360"/>
            <ac:spMk id="62" creationId="{689F790C-3D01-8B97-0484-5B3B1AE146C9}"/>
          </ac:spMkLst>
        </pc:spChg>
        <pc:cxnChg chg="add mod">
          <ac:chgData name="Wang, Han" userId="9a056b73-0254-4e07-9351-ba9f4ce96737" providerId="ADAL" clId="{BE80FE12-4646-4FA4-A284-ABB4D2A3A409}" dt="2024-03-21T11:00:31.957" v="4861" actId="1076"/>
          <ac:cxnSpMkLst>
            <pc:docMk/>
            <pc:sldMk cId="2324087577" sldId="360"/>
            <ac:cxnSpMk id="31" creationId="{48AA4789-6984-E008-2B32-3A200C8C7688}"/>
          </ac:cxnSpMkLst>
        </pc:cxnChg>
        <pc:cxnChg chg="add mod">
          <ac:chgData name="Wang, Han" userId="9a056b73-0254-4e07-9351-ba9f4ce96737" providerId="ADAL" clId="{BE80FE12-4646-4FA4-A284-ABB4D2A3A409}" dt="2024-03-21T11:00:58.239" v="4879" actId="1076"/>
          <ac:cxnSpMkLst>
            <pc:docMk/>
            <pc:sldMk cId="2324087577" sldId="360"/>
            <ac:cxnSpMk id="43" creationId="{0F7DFC21-4806-B6EE-7841-82787D6596E6}"/>
          </ac:cxnSpMkLst>
        </pc:cxnChg>
        <pc:cxnChg chg="add mod">
          <ac:chgData name="Wang, Han" userId="9a056b73-0254-4e07-9351-ba9f4ce96737" providerId="ADAL" clId="{BE80FE12-4646-4FA4-A284-ABB4D2A3A409}" dt="2024-03-21T11:01:17.565" v="4883" actId="14100"/>
          <ac:cxnSpMkLst>
            <pc:docMk/>
            <pc:sldMk cId="2324087577" sldId="360"/>
            <ac:cxnSpMk id="45" creationId="{83EBEFD4-C0A2-9B46-3752-2777A1B58560}"/>
          </ac:cxnSpMkLst>
        </pc:cxnChg>
        <pc:cxnChg chg="add mod">
          <ac:chgData name="Wang, Han" userId="9a056b73-0254-4e07-9351-ba9f4ce96737" providerId="ADAL" clId="{BE80FE12-4646-4FA4-A284-ABB4D2A3A409}" dt="2024-03-21T11:01:13.696" v="4882" actId="1076"/>
          <ac:cxnSpMkLst>
            <pc:docMk/>
            <pc:sldMk cId="2324087577" sldId="360"/>
            <ac:cxnSpMk id="47" creationId="{33BB21A0-DFCF-F2DA-5599-C3312AC15FCF}"/>
          </ac:cxnSpMkLst>
        </pc:cxnChg>
        <pc:cxnChg chg="add mod">
          <ac:chgData name="Wang, Han" userId="9a056b73-0254-4e07-9351-ba9f4ce96737" providerId="ADAL" clId="{BE80FE12-4646-4FA4-A284-ABB4D2A3A409}" dt="2024-03-21T11:01:10.355" v="4881" actId="1076"/>
          <ac:cxnSpMkLst>
            <pc:docMk/>
            <pc:sldMk cId="2324087577" sldId="360"/>
            <ac:cxnSpMk id="50" creationId="{39749A29-44E8-A165-5035-A588AFD2D4C9}"/>
          </ac:cxnSpMkLst>
        </pc:cxnChg>
        <pc:cxnChg chg="add mod">
          <ac:chgData name="Wang, Han" userId="9a056b73-0254-4e07-9351-ba9f4ce96737" providerId="ADAL" clId="{BE80FE12-4646-4FA4-A284-ABB4D2A3A409}" dt="2024-03-21T11:04:26.037" v="4890" actId="14100"/>
          <ac:cxnSpMkLst>
            <pc:docMk/>
            <pc:sldMk cId="2324087577" sldId="360"/>
            <ac:cxnSpMk id="56" creationId="{81495C68-7294-F35D-6CE4-C84181D9054D}"/>
          </ac:cxnSpMkLst>
        </pc:cxnChg>
        <pc:cxnChg chg="add mod">
          <ac:chgData name="Wang, Han" userId="9a056b73-0254-4e07-9351-ba9f4ce96737" providerId="ADAL" clId="{BE80FE12-4646-4FA4-A284-ABB4D2A3A409}" dt="2024-03-21T11:01:02.748" v="4880" actId="1076"/>
          <ac:cxnSpMkLst>
            <pc:docMk/>
            <pc:sldMk cId="2324087577" sldId="360"/>
            <ac:cxnSpMk id="57" creationId="{C7B4618B-EE71-2890-EA8C-890410D4EBD6}"/>
          </ac:cxnSpMkLst>
        </pc:cxnChg>
      </pc:sldChg>
      <pc:sldChg chg="addSp delSp modSp new mod">
        <pc:chgData name="Wang, Han" userId="9a056b73-0254-4e07-9351-ba9f4ce96737" providerId="ADAL" clId="{BE80FE12-4646-4FA4-A284-ABB4D2A3A409}" dt="2024-04-11T09:35:10.004" v="6499" actId="1076"/>
        <pc:sldMkLst>
          <pc:docMk/>
          <pc:sldMk cId="4165189419" sldId="361"/>
        </pc:sldMkLst>
        <pc:spChg chg="mod">
          <ac:chgData name="Wang, Han" userId="9a056b73-0254-4e07-9351-ba9f4ce96737" providerId="ADAL" clId="{BE80FE12-4646-4FA4-A284-ABB4D2A3A409}" dt="2024-03-20T11:03:11.593" v="3700"/>
          <ac:spMkLst>
            <pc:docMk/>
            <pc:sldMk cId="4165189419" sldId="361"/>
            <ac:spMk id="2" creationId="{2BB14E5A-7604-016B-3B8E-78D7C473C6C3}"/>
          </ac:spMkLst>
        </pc:spChg>
        <pc:spChg chg="mod">
          <ac:chgData name="Wang, Han" userId="9a056b73-0254-4e07-9351-ba9f4ce96737" providerId="ADAL" clId="{BE80FE12-4646-4FA4-A284-ABB4D2A3A409}" dt="2024-04-11T09:15:57.866" v="6220" actId="20577"/>
          <ac:spMkLst>
            <pc:docMk/>
            <pc:sldMk cId="4165189419" sldId="361"/>
            <ac:spMk id="6" creationId="{CC742F4A-AAC4-0B05-F147-A5CF197CF411}"/>
          </ac:spMkLst>
        </pc:spChg>
        <pc:spChg chg="del">
          <ac:chgData name="Wang, Han" userId="9a056b73-0254-4e07-9351-ba9f4ce96737" providerId="ADAL" clId="{BE80FE12-4646-4FA4-A284-ABB4D2A3A409}" dt="2024-03-20T11:03:40.096" v="3721" actId="478"/>
          <ac:spMkLst>
            <pc:docMk/>
            <pc:sldMk cId="4165189419" sldId="361"/>
            <ac:spMk id="7" creationId="{5625FBB1-9781-EFFF-254B-ECCA2C13C2C3}"/>
          </ac:spMkLst>
        </pc:spChg>
        <pc:spChg chg="mod">
          <ac:chgData name="Wang, Han" userId="9a056b73-0254-4e07-9351-ba9f4ce96737" providerId="ADAL" clId="{BE80FE12-4646-4FA4-A284-ABB4D2A3A409}" dt="2024-03-20T12:46:00.615" v="3772"/>
          <ac:spMkLst>
            <pc:docMk/>
            <pc:sldMk cId="4165189419" sldId="361"/>
            <ac:spMk id="9" creationId="{05C23A22-01E5-9AA8-73CF-BFEF4715AF9C}"/>
          </ac:spMkLst>
        </pc:spChg>
        <pc:spChg chg="mod">
          <ac:chgData name="Wang, Han" userId="9a056b73-0254-4e07-9351-ba9f4ce96737" providerId="ADAL" clId="{BE80FE12-4646-4FA4-A284-ABB4D2A3A409}" dt="2024-03-20T12:46:00.615" v="3772"/>
          <ac:spMkLst>
            <pc:docMk/>
            <pc:sldMk cId="4165189419" sldId="361"/>
            <ac:spMk id="10" creationId="{04BF7ED6-94F2-1EA0-71E4-93E81C920C66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11" creationId="{DE706D4A-3D5E-21D6-BDAA-781E6CB17099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12" creationId="{68829506-DFE5-3753-FB72-6576F8316B7C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13" creationId="{E7F1B658-5B9C-EDFF-F1A6-F46D3534A4D2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14" creationId="{A734964E-0DB6-D983-482C-DB7B63387FB9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15" creationId="{34C393AD-E82F-3B98-12AA-D0C20E1ABAD5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16" creationId="{EB7E4B92-DA8F-A461-1B17-AA3D1667795E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17" creationId="{55992DF8-9FD5-7B2F-0331-A8D86D4E444A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18" creationId="{BD85EA24-9272-7271-BC07-CDCAF0A4011A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19" creationId="{A522F14A-1D75-40CC-6D2F-12EAE2719DB0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0" creationId="{964A57C2-656E-52F7-4B8C-DE3D60561C35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1" creationId="{E142A4DE-C317-D756-F5AB-8F35E0236D6B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2" creationId="{37EDF85C-BA51-3A4D-909E-C27331C1DBAE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3" creationId="{1B4C6F2F-4896-F263-5951-4CC41C0F5393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4" creationId="{4C759E74-6CF6-75A2-D1F0-F24D3C2A6C57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5" creationId="{2D8BD8AE-B235-7ADF-EAAC-6C0B6D71C5BB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6" creationId="{A04BDDAA-CCAE-B064-B6AB-F5505F0C4193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7" creationId="{A0EEC9D7-66D7-1BF3-621E-2B019B660560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8" creationId="{FC6FDB10-E8EA-E588-41A5-D396098A8CB1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29" creationId="{E06E9976-776A-7605-D099-FE027182FE46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30" creationId="{0583BB3B-2D99-7279-A02C-C2854B5905A2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31" creationId="{235C0259-4022-C459-D39F-CBD176D2CB5D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32" creationId="{AB59C782-234E-2C54-1E68-F252B7E0CE1A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33" creationId="{2BD169CB-440D-358D-E00A-C4E756F1DD81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34" creationId="{96C17B76-8D67-2EAB-4417-1AC400A41EA0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35" creationId="{286F5137-56DC-294B-9D36-53E2E7927F7D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36" creationId="{CAEA4F7D-F141-4A09-CE84-1ABBBED7C854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37" creationId="{1EA99676-7ABB-B202-206F-FC0857DEDC2D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38" creationId="{732B565C-F7C7-BB67-925B-F9F8776616E2}"/>
          </ac:spMkLst>
        </pc:spChg>
        <pc:spChg chg="add mod">
          <ac:chgData name="Wang, Han" userId="9a056b73-0254-4e07-9351-ba9f4ce96737" providerId="ADAL" clId="{BE80FE12-4646-4FA4-A284-ABB4D2A3A409}" dt="2024-04-11T09:34:41.524" v="6494" actId="1076"/>
          <ac:spMkLst>
            <pc:docMk/>
            <pc:sldMk cId="4165189419" sldId="361"/>
            <ac:spMk id="39" creationId="{E8655446-4473-E1C7-4AB2-3A4130E44247}"/>
          </ac:spMkLst>
        </pc:spChg>
        <pc:spChg chg="mod">
          <ac:chgData name="Wang, Han" userId="9a056b73-0254-4e07-9351-ba9f4ce96737" providerId="ADAL" clId="{BE80FE12-4646-4FA4-A284-ABB4D2A3A409}" dt="2024-03-20T12:46:09.754" v="3774" actId="571"/>
          <ac:spMkLst>
            <pc:docMk/>
            <pc:sldMk cId="4165189419" sldId="361"/>
            <ac:spMk id="40" creationId="{C1980670-985D-40A3-800D-56DFBA075A1B}"/>
          </ac:spMkLst>
        </pc:spChg>
        <pc:spChg chg="mod">
          <ac:chgData name="Wang, Han" userId="9a056b73-0254-4e07-9351-ba9f4ce96737" providerId="ADAL" clId="{BE80FE12-4646-4FA4-A284-ABB4D2A3A409}" dt="2024-03-20T12:46:09.754" v="3774" actId="571"/>
          <ac:spMkLst>
            <pc:docMk/>
            <pc:sldMk cId="4165189419" sldId="361"/>
            <ac:spMk id="41" creationId="{24EBE140-4E12-D87C-C957-904919FAC861}"/>
          </ac:spMkLst>
        </pc:spChg>
        <pc:spChg chg="add mod">
          <ac:chgData name="Wang, Han" userId="9a056b73-0254-4e07-9351-ba9f4ce96737" providerId="ADAL" clId="{BE80FE12-4646-4FA4-A284-ABB4D2A3A409}" dt="2024-04-11T09:35:10.004" v="6499" actId="1076"/>
          <ac:spMkLst>
            <pc:docMk/>
            <pc:sldMk cId="4165189419" sldId="361"/>
            <ac:spMk id="41" creationId="{7B3091D8-69DF-4B75-C724-C5ED2B839C72}"/>
          </ac:spMkLst>
        </pc:spChg>
        <pc:spChg chg="mod">
          <ac:chgData name="Wang, Han" userId="9a056b73-0254-4e07-9351-ba9f4ce96737" providerId="ADAL" clId="{BE80FE12-4646-4FA4-A284-ABB4D2A3A409}" dt="2024-03-20T12:46:29.977" v="3776" actId="571"/>
          <ac:spMkLst>
            <pc:docMk/>
            <pc:sldMk cId="4165189419" sldId="361"/>
            <ac:spMk id="43" creationId="{5E765471-09D3-165E-83BE-C9EC0F8087BB}"/>
          </ac:spMkLst>
        </pc:spChg>
        <pc:spChg chg="mod">
          <ac:chgData name="Wang, Han" userId="9a056b73-0254-4e07-9351-ba9f4ce96737" providerId="ADAL" clId="{BE80FE12-4646-4FA4-A284-ABB4D2A3A409}" dt="2024-03-20T12:46:59.603" v="3820" actId="14100"/>
          <ac:spMkLst>
            <pc:docMk/>
            <pc:sldMk cId="4165189419" sldId="361"/>
            <ac:spMk id="44" creationId="{E2B14876-526E-FB1E-4029-AD8163CA8DCD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45" creationId="{F9ECEA8C-93D8-146A-FC80-0E6B986A5415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46" creationId="{0F3F7DF7-B728-CC57-76FB-1C85FE7D4B95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47" creationId="{A815FFDE-0455-3297-BCEF-9813DEC12FBE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48" creationId="{8B105C89-177B-3331-ED39-96EE1195DF1F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49" creationId="{D7F2F08C-6B07-1A56-53CF-01323E92BEB1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50" creationId="{A7838E89-2141-4074-8C87-6926ACD963C3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51" creationId="{3BEB85E6-AC36-3DA4-FDF3-7FB517F370CC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52" creationId="{59C31598-3FFF-9B1B-6C0C-FB068D123A60}"/>
          </ac:spMkLst>
        </pc:spChg>
        <pc:spChg chg="add mod">
          <ac:chgData name="Wang, Han" userId="9a056b73-0254-4e07-9351-ba9f4ce96737" providerId="ADAL" clId="{BE80FE12-4646-4FA4-A284-ABB4D2A3A409}" dt="2024-04-11T09:35:00.855" v="6498" actId="14100"/>
          <ac:spMkLst>
            <pc:docMk/>
            <pc:sldMk cId="4165189419" sldId="361"/>
            <ac:spMk id="52" creationId="{8FC29821-4730-F018-F943-B379AC01544A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53" creationId="{FFE0DB7F-D71C-7F65-9039-773309785F75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54" creationId="{FDAE4583-056D-7D71-6D03-83DD380C54F1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55" creationId="{510F69A2-74D1-2440-4BD0-BD351E894D1A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56" creationId="{7EDBB62B-663E-6B86-7E0D-2C68B3603735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57" creationId="{0317144B-2F6C-AF25-A2D4-076D5576B9AE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58" creationId="{922C276B-EAAF-639E-A104-348C2FBED716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59" creationId="{B5B5AA6F-B260-50BF-C307-70F3F46F4411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0" creationId="{8D6AC993-6595-8E6B-1A17-4DA311DE5264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1" creationId="{52E98951-344A-6FA0-5B62-3B3213283BE9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2" creationId="{3D2EE4C0-D325-F9A9-3D4C-411DECC9F284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3" creationId="{A168076E-BBE5-0478-4723-DA926EF559C9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4" creationId="{0F70B8B7-71A0-7601-CA00-8BD2CB049C01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5" creationId="{04F242CC-D54E-DE93-F58B-202BA3AC0DA1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6" creationId="{109A6966-7C5A-BE6C-F9EB-DEA0C0856413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7" creationId="{A8243187-2ED4-80F5-160A-E1A19F5DE7AD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8" creationId="{39B3077B-74B3-2645-43D4-53196ABB2BF6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69" creationId="{48DC7B62-0E31-7A10-C608-2386A384D944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70" creationId="{56F93122-A8AF-1197-5295-E1DC536E8FB7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71" creationId="{DF149B99-CDAB-3907-3C9C-E5346D222D6A}"/>
          </ac:spMkLst>
        </pc:spChg>
        <pc:spChg chg="add del mod">
          <ac:chgData name="Wang, Han" userId="9a056b73-0254-4e07-9351-ba9f4ce96737" providerId="ADAL" clId="{BE80FE12-4646-4FA4-A284-ABB4D2A3A409}" dt="2024-03-20T12:46:35.324" v="3777" actId="478"/>
          <ac:spMkLst>
            <pc:docMk/>
            <pc:sldMk cId="4165189419" sldId="361"/>
            <ac:spMk id="72" creationId="{A2C0D477-565C-EF2C-BE0E-9C2911E5F2B0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73" creationId="{975DBB22-353A-EFB6-2133-9D9950DA1F30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74" creationId="{42578640-8047-16E4-649B-38C80BD56F49}"/>
          </ac:spMkLst>
        </pc:spChg>
        <pc:spChg chg="add mod">
          <ac:chgData name="Wang, Han" userId="9a056b73-0254-4e07-9351-ba9f4ce96737" providerId="ADAL" clId="{BE80FE12-4646-4FA4-A284-ABB4D2A3A409}" dt="2024-04-11T09:33:21.420" v="6469" actId="1076"/>
          <ac:spMkLst>
            <pc:docMk/>
            <pc:sldMk cId="4165189419" sldId="361"/>
            <ac:spMk id="78" creationId="{4894D92A-50E3-F3FD-6797-034C17661105}"/>
          </ac:spMkLst>
        </pc:spChg>
        <pc:spChg chg="add del mod">
          <ac:chgData name="Wang, Han" userId="9a056b73-0254-4e07-9351-ba9f4ce96737" providerId="ADAL" clId="{BE80FE12-4646-4FA4-A284-ABB4D2A3A409}" dt="2024-03-20T12:50:33.291" v="3852" actId="478"/>
          <ac:spMkLst>
            <pc:docMk/>
            <pc:sldMk cId="4165189419" sldId="361"/>
            <ac:spMk id="79" creationId="{C2255785-19AE-4C0F-0845-55E9FA87A1A5}"/>
          </ac:spMkLst>
        </pc:spChg>
        <pc:spChg chg="add del mod">
          <ac:chgData name="Wang, Han" userId="9a056b73-0254-4e07-9351-ba9f4ce96737" providerId="ADAL" clId="{BE80FE12-4646-4FA4-A284-ABB4D2A3A409}" dt="2024-03-20T12:50:32.386" v="3851" actId="478"/>
          <ac:spMkLst>
            <pc:docMk/>
            <pc:sldMk cId="4165189419" sldId="361"/>
            <ac:spMk id="80" creationId="{BC3DBA90-A943-F290-9ADC-DF3F4F136459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81" creationId="{E4FD07C3-9190-EF3C-7789-26F3DD5BF44A}"/>
          </ac:spMkLst>
        </pc:spChg>
        <pc:spChg chg="add mod">
          <ac:chgData name="Wang, Han" userId="9a056b73-0254-4e07-9351-ba9f4ce96737" providerId="ADAL" clId="{BE80FE12-4646-4FA4-A284-ABB4D2A3A409}" dt="2024-04-11T09:31:35.732" v="6439" actId="1076"/>
          <ac:spMkLst>
            <pc:docMk/>
            <pc:sldMk cId="4165189419" sldId="361"/>
            <ac:spMk id="82" creationId="{83E0CB6B-0CEB-D865-6570-2D52B2CCC4CB}"/>
          </ac:spMkLst>
        </pc:spChg>
        <pc:spChg chg="add mod">
          <ac:chgData name="Wang, Han" userId="9a056b73-0254-4e07-9351-ba9f4ce96737" providerId="ADAL" clId="{BE80FE12-4646-4FA4-A284-ABB4D2A3A409}" dt="2024-04-11T09:33:31.371" v="6470" actId="1076"/>
          <ac:spMkLst>
            <pc:docMk/>
            <pc:sldMk cId="4165189419" sldId="361"/>
            <ac:spMk id="85" creationId="{9AFBA3A3-F3DF-EA0B-206D-D767CE275ADE}"/>
          </ac:spMkLst>
        </pc:spChg>
        <pc:spChg chg="add mod">
          <ac:chgData name="Wang, Han" userId="9a056b73-0254-4e07-9351-ba9f4ce96737" providerId="ADAL" clId="{BE80FE12-4646-4FA4-A284-ABB4D2A3A409}" dt="2024-04-11T09:33:43.090" v="6471" actId="1076"/>
          <ac:spMkLst>
            <pc:docMk/>
            <pc:sldMk cId="4165189419" sldId="361"/>
            <ac:spMk id="86" creationId="{3D9E58D3-8D95-9A9C-8639-4C371F345BA0}"/>
          </ac:spMkLst>
        </pc:spChg>
        <pc:spChg chg="add mod">
          <ac:chgData name="Wang, Han" userId="9a056b73-0254-4e07-9351-ba9f4ce96737" providerId="ADAL" clId="{BE80FE12-4646-4FA4-A284-ABB4D2A3A409}" dt="2024-03-20T13:34:01.126" v="3914" actId="164"/>
          <ac:spMkLst>
            <pc:docMk/>
            <pc:sldMk cId="4165189419" sldId="361"/>
            <ac:spMk id="87" creationId="{7B33DFC4-DDF9-9C57-8A72-0F77DC5EA7E5}"/>
          </ac:spMkLst>
        </pc:spChg>
        <pc:spChg chg="add mod">
          <ac:chgData name="Wang, Han" userId="9a056b73-0254-4e07-9351-ba9f4ce96737" providerId="ADAL" clId="{BE80FE12-4646-4FA4-A284-ABB4D2A3A409}" dt="2024-03-20T13:34:01.126" v="3914" actId="164"/>
          <ac:spMkLst>
            <pc:docMk/>
            <pc:sldMk cId="4165189419" sldId="361"/>
            <ac:spMk id="88" creationId="{B6B7D687-9F13-8A71-CCDA-91C797A0B891}"/>
          </ac:spMkLst>
        </pc:spChg>
        <pc:spChg chg="add mod">
          <ac:chgData name="Wang, Han" userId="9a056b73-0254-4e07-9351-ba9f4ce96737" providerId="ADAL" clId="{BE80FE12-4646-4FA4-A284-ABB4D2A3A409}" dt="2024-04-11T09:33:21.420" v="6469" actId="1076"/>
          <ac:spMkLst>
            <pc:docMk/>
            <pc:sldMk cId="4165189419" sldId="361"/>
            <ac:spMk id="90" creationId="{E15E55DF-E70A-F4C0-A8EA-67D0F17CFDAF}"/>
          </ac:spMkLst>
        </pc:spChg>
        <pc:spChg chg="add mod">
          <ac:chgData name="Wang, Han" userId="9a056b73-0254-4e07-9351-ba9f4ce96737" providerId="ADAL" clId="{BE80FE12-4646-4FA4-A284-ABB4D2A3A409}" dt="2024-04-11T09:33:21.420" v="6469" actId="1076"/>
          <ac:spMkLst>
            <pc:docMk/>
            <pc:sldMk cId="4165189419" sldId="361"/>
            <ac:spMk id="91" creationId="{49B82C65-B1BB-C410-264D-0AF0A5396A71}"/>
          </ac:spMkLst>
        </pc:spChg>
        <pc:spChg chg="add del mod">
          <ac:chgData name="Wang, Han" userId="9a056b73-0254-4e07-9351-ba9f4ce96737" providerId="ADAL" clId="{BE80FE12-4646-4FA4-A284-ABB4D2A3A409}" dt="2024-03-20T13:34:33.045" v="3917" actId="478"/>
          <ac:spMkLst>
            <pc:docMk/>
            <pc:sldMk cId="4165189419" sldId="361"/>
            <ac:spMk id="92" creationId="{983FF7A2-9C84-E86F-6A01-ABA8B6568037}"/>
          </ac:spMkLst>
        </pc:spChg>
        <pc:spChg chg="add del mod">
          <ac:chgData name="Wang, Han" userId="9a056b73-0254-4e07-9351-ba9f4ce96737" providerId="ADAL" clId="{BE80FE12-4646-4FA4-A284-ABB4D2A3A409}" dt="2024-03-20T13:34:33.045" v="3917" actId="478"/>
          <ac:spMkLst>
            <pc:docMk/>
            <pc:sldMk cId="4165189419" sldId="361"/>
            <ac:spMk id="93" creationId="{4096E40C-2D31-42DB-066B-EF3134995624}"/>
          </ac:spMkLst>
        </pc:spChg>
        <pc:spChg chg="add mod">
          <ac:chgData name="Wang, Han" userId="9a056b73-0254-4e07-9351-ba9f4ce96737" providerId="ADAL" clId="{BE80FE12-4646-4FA4-A284-ABB4D2A3A409}" dt="2024-04-11T09:33:21.420" v="6469" actId="1076"/>
          <ac:spMkLst>
            <pc:docMk/>
            <pc:sldMk cId="4165189419" sldId="361"/>
            <ac:spMk id="95" creationId="{D580055E-0554-7192-2E46-1C3D7B279BB5}"/>
          </ac:spMkLst>
        </pc:spChg>
        <pc:spChg chg="add mod">
          <ac:chgData name="Wang, Han" userId="9a056b73-0254-4e07-9351-ba9f4ce96737" providerId="ADAL" clId="{BE80FE12-4646-4FA4-A284-ABB4D2A3A409}" dt="2024-04-11T09:33:21.420" v="6469" actId="1076"/>
          <ac:spMkLst>
            <pc:docMk/>
            <pc:sldMk cId="4165189419" sldId="361"/>
            <ac:spMk id="96" creationId="{83536576-453C-1D4C-EE1B-1A746A7E6D3D}"/>
          </ac:spMkLst>
        </pc:spChg>
        <pc:spChg chg="add del mod">
          <ac:chgData name="Wang, Han" userId="9a056b73-0254-4e07-9351-ba9f4ce96737" providerId="ADAL" clId="{BE80FE12-4646-4FA4-A284-ABB4D2A3A409}" dt="2024-03-20T13:36:27.565" v="3934" actId="478"/>
          <ac:spMkLst>
            <pc:docMk/>
            <pc:sldMk cId="4165189419" sldId="361"/>
            <ac:spMk id="97" creationId="{819D8AA6-CEF3-501A-BA01-65274CBFDFC4}"/>
          </ac:spMkLst>
        </pc:spChg>
        <pc:spChg chg="mod">
          <ac:chgData name="Wang, Han" userId="9a056b73-0254-4e07-9351-ba9f4ce96737" providerId="ADAL" clId="{BE80FE12-4646-4FA4-A284-ABB4D2A3A409}" dt="2024-03-20T13:35:28.129" v="3926" actId="571"/>
          <ac:spMkLst>
            <pc:docMk/>
            <pc:sldMk cId="4165189419" sldId="361"/>
            <ac:spMk id="99" creationId="{AED5EB9E-AA0D-BB77-012B-990D697F10B1}"/>
          </ac:spMkLst>
        </pc:spChg>
        <pc:spChg chg="mod">
          <ac:chgData name="Wang, Han" userId="9a056b73-0254-4e07-9351-ba9f4ce96737" providerId="ADAL" clId="{BE80FE12-4646-4FA4-A284-ABB4D2A3A409}" dt="2024-03-20T13:35:28.129" v="3926" actId="571"/>
          <ac:spMkLst>
            <pc:docMk/>
            <pc:sldMk cId="4165189419" sldId="361"/>
            <ac:spMk id="100" creationId="{ECA2A67E-5F5C-9585-A809-79B49955B67C}"/>
          </ac:spMkLst>
        </pc:spChg>
        <pc:spChg chg="add mod">
          <ac:chgData name="Wang, Han" userId="9a056b73-0254-4e07-9351-ba9f4ce96737" providerId="ADAL" clId="{BE80FE12-4646-4FA4-A284-ABB4D2A3A409}" dt="2024-04-11T09:33:21.420" v="6469" actId="1076"/>
          <ac:spMkLst>
            <pc:docMk/>
            <pc:sldMk cId="4165189419" sldId="361"/>
            <ac:spMk id="109" creationId="{AABDEE9F-9A35-B749-EA8C-9B33F54105A7}"/>
          </ac:spMkLst>
        </pc:spChg>
        <pc:spChg chg="add mod ord">
          <ac:chgData name="Wang, Han" userId="9a056b73-0254-4e07-9351-ba9f4ce96737" providerId="ADAL" clId="{BE80FE12-4646-4FA4-A284-ABB4D2A3A409}" dt="2024-04-11T09:33:21.420" v="6469" actId="1076"/>
          <ac:spMkLst>
            <pc:docMk/>
            <pc:sldMk cId="4165189419" sldId="361"/>
            <ac:spMk id="110" creationId="{35DFDE99-5855-776D-6269-91383AA30639}"/>
          </ac:spMkLst>
        </pc:spChg>
        <pc:spChg chg="add mod">
          <ac:chgData name="Wang, Han" userId="9a056b73-0254-4e07-9351-ba9f4ce96737" providerId="ADAL" clId="{BE80FE12-4646-4FA4-A284-ABB4D2A3A409}" dt="2024-04-11T09:33:31.371" v="6470" actId="1076"/>
          <ac:spMkLst>
            <pc:docMk/>
            <pc:sldMk cId="4165189419" sldId="361"/>
            <ac:spMk id="111" creationId="{C8605ED1-FB89-31E4-D4F6-E297B0919683}"/>
          </ac:spMkLst>
        </pc:spChg>
        <pc:spChg chg="add del mod">
          <ac:chgData name="Wang, Han" userId="9a056b73-0254-4e07-9351-ba9f4ce96737" providerId="ADAL" clId="{BE80FE12-4646-4FA4-A284-ABB4D2A3A409}" dt="2024-03-20T13:44:01.315" v="4175" actId="478"/>
          <ac:spMkLst>
            <pc:docMk/>
            <pc:sldMk cId="4165189419" sldId="361"/>
            <ac:spMk id="112" creationId="{00E85793-8A4F-01E9-B9B0-65E5C3CB4A15}"/>
          </ac:spMkLst>
        </pc:spChg>
        <pc:spChg chg="add mod">
          <ac:chgData name="Wang, Han" userId="9a056b73-0254-4e07-9351-ba9f4ce96737" providerId="ADAL" clId="{BE80FE12-4646-4FA4-A284-ABB4D2A3A409}" dt="2024-04-11T09:33:31.371" v="6470" actId="1076"/>
          <ac:spMkLst>
            <pc:docMk/>
            <pc:sldMk cId="4165189419" sldId="361"/>
            <ac:spMk id="117" creationId="{BB99AF25-7373-58CD-9DD3-99B01040247B}"/>
          </ac:spMkLst>
        </pc:spChg>
        <pc:spChg chg="add mod">
          <ac:chgData name="Wang, Han" userId="9a056b73-0254-4e07-9351-ba9f4ce96737" providerId="ADAL" clId="{BE80FE12-4646-4FA4-A284-ABB4D2A3A409}" dt="2024-04-11T09:33:43.090" v="6471" actId="1076"/>
          <ac:spMkLst>
            <pc:docMk/>
            <pc:sldMk cId="4165189419" sldId="361"/>
            <ac:spMk id="118" creationId="{0289F86E-53BF-1FE6-5FEC-3416F6D3AAD8}"/>
          </ac:spMkLst>
        </pc:spChg>
        <pc:spChg chg="add mod">
          <ac:chgData name="Wang, Han" userId="9a056b73-0254-4e07-9351-ba9f4ce96737" providerId="ADAL" clId="{BE80FE12-4646-4FA4-A284-ABB4D2A3A409}" dt="2024-04-11T09:33:58.663" v="6472" actId="1076"/>
          <ac:spMkLst>
            <pc:docMk/>
            <pc:sldMk cId="4165189419" sldId="361"/>
            <ac:spMk id="119" creationId="{74FD2610-C591-F314-50EB-BE8ACC830F04}"/>
          </ac:spMkLst>
        </pc:spChg>
        <pc:spChg chg="add mod">
          <ac:chgData name="Wang, Han" userId="9a056b73-0254-4e07-9351-ba9f4ce96737" providerId="ADAL" clId="{BE80FE12-4646-4FA4-A284-ABB4D2A3A409}" dt="2024-04-11T09:33:58.663" v="6472" actId="1076"/>
          <ac:spMkLst>
            <pc:docMk/>
            <pc:sldMk cId="4165189419" sldId="361"/>
            <ac:spMk id="120" creationId="{87D1E106-A1B5-D585-5267-06DC4EED831D}"/>
          </ac:spMkLst>
        </pc:spChg>
        <pc:spChg chg="add del mod">
          <ac:chgData name="Wang, Han" userId="9a056b73-0254-4e07-9351-ba9f4ce96737" providerId="ADAL" clId="{BE80FE12-4646-4FA4-A284-ABB4D2A3A409}" dt="2024-03-20T13:41:40.484" v="3988" actId="478"/>
          <ac:spMkLst>
            <pc:docMk/>
            <pc:sldMk cId="4165189419" sldId="361"/>
            <ac:spMk id="121" creationId="{8B5474BA-0C42-44EF-761E-0FA13ED00F53}"/>
          </ac:spMkLst>
        </pc:spChg>
        <pc:spChg chg="add del mod">
          <ac:chgData name="Wang, Han" userId="9a056b73-0254-4e07-9351-ba9f4ce96737" providerId="ADAL" clId="{BE80FE12-4646-4FA4-A284-ABB4D2A3A409}" dt="2024-03-20T13:43:00.254" v="4044" actId="478"/>
          <ac:spMkLst>
            <pc:docMk/>
            <pc:sldMk cId="4165189419" sldId="361"/>
            <ac:spMk id="122" creationId="{F0F7A49B-612D-D7F2-4FEB-39A643F9CDB9}"/>
          </ac:spMkLst>
        </pc:spChg>
        <pc:spChg chg="add del mod">
          <ac:chgData name="Wang, Han" userId="9a056b73-0254-4e07-9351-ba9f4ce96737" providerId="ADAL" clId="{BE80FE12-4646-4FA4-A284-ABB4D2A3A409}" dt="2024-03-20T13:42:59.781" v="4043" actId="478"/>
          <ac:spMkLst>
            <pc:docMk/>
            <pc:sldMk cId="4165189419" sldId="361"/>
            <ac:spMk id="123" creationId="{4063393A-FC53-2673-569A-0E2EDCA1BF2E}"/>
          </ac:spMkLst>
        </pc:spChg>
        <pc:spChg chg="add del mod">
          <ac:chgData name="Wang, Han" userId="9a056b73-0254-4e07-9351-ba9f4ce96737" providerId="ADAL" clId="{BE80FE12-4646-4FA4-A284-ABB4D2A3A409}" dt="2024-03-20T13:42:57.708" v="4042" actId="478"/>
          <ac:spMkLst>
            <pc:docMk/>
            <pc:sldMk cId="4165189419" sldId="361"/>
            <ac:spMk id="124" creationId="{E2F5051A-3918-26AD-380A-43001745E1A1}"/>
          </ac:spMkLst>
        </pc:spChg>
        <pc:spChg chg="add mod">
          <ac:chgData name="Wang, Han" userId="9a056b73-0254-4e07-9351-ba9f4ce96737" providerId="ADAL" clId="{BE80FE12-4646-4FA4-A284-ABB4D2A3A409}" dt="2024-04-11T09:33:43.090" v="6471" actId="1076"/>
          <ac:spMkLst>
            <pc:docMk/>
            <pc:sldMk cId="4165189419" sldId="361"/>
            <ac:spMk id="125" creationId="{72B80FEB-22ED-7BF0-A99C-DA98F300E9E6}"/>
          </ac:spMkLst>
        </pc:spChg>
        <pc:grpChg chg="add mod">
          <ac:chgData name="Wang, Han" userId="9a056b73-0254-4e07-9351-ba9f4ce96737" providerId="ADAL" clId="{BE80FE12-4646-4FA4-A284-ABB4D2A3A409}" dt="2024-04-11T09:31:35.732" v="6439" actId="1076"/>
          <ac:grpSpMkLst>
            <pc:docMk/>
            <pc:sldMk cId="4165189419" sldId="361"/>
            <ac:grpSpMk id="8" creationId="{D4959D82-58DF-6F02-E356-E13880779F4A}"/>
          </ac:grpSpMkLst>
        </pc:grpChg>
        <pc:grpChg chg="add del mod">
          <ac:chgData name="Wang, Han" userId="9a056b73-0254-4e07-9351-ba9f4ce96737" providerId="ADAL" clId="{BE80FE12-4646-4FA4-A284-ABB4D2A3A409}" dt="2024-03-20T12:46:12.915" v="3775" actId="478"/>
          <ac:grpSpMkLst>
            <pc:docMk/>
            <pc:sldMk cId="4165189419" sldId="361"/>
            <ac:grpSpMk id="39" creationId="{FD406AC9-DFC8-4E51-FDC1-E0373F6AE989}"/>
          </ac:grpSpMkLst>
        </pc:grpChg>
        <pc:grpChg chg="add mod">
          <ac:chgData name="Wang, Han" userId="9a056b73-0254-4e07-9351-ba9f4ce96737" providerId="ADAL" clId="{BE80FE12-4646-4FA4-A284-ABB4D2A3A409}" dt="2024-04-11T09:31:35.732" v="6439" actId="1076"/>
          <ac:grpSpMkLst>
            <pc:docMk/>
            <pc:sldMk cId="4165189419" sldId="361"/>
            <ac:grpSpMk id="42" creationId="{65361D2F-6CEF-9415-A4C1-2F4E91F6B2F6}"/>
          </ac:grpSpMkLst>
        </pc:grpChg>
        <pc:grpChg chg="add mod">
          <ac:chgData name="Wang, Han" userId="9a056b73-0254-4e07-9351-ba9f4ce96737" providerId="ADAL" clId="{BE80FE12-4646-4FA4-A284-ABB4D2A3A409}" dt="2024-04-11T09:33:21.420" v="6469" actId="1076"/>
          <ac:grpSpMkLst>
            <pc:docMk/>
            <pc:sldMk cId="4165189419" sldId="361"/>
            <ac:grpSpMk id="89" creationId="{11CFADEC-7A76-EC93-CC7F-AA0CAD13D041}"/>
          </ac:grpSpMkLst>
        </pc:grpChg>
        <pc:grpChg chg="add del mod">
          <ac:chgData name="Wang, Han" userId="9a056b73-0254-4e07-9351-ba9f4ce96737" providerId="ADAL" clId="{BE80FE12-4646-4FA4-A284-ABB4D2A3A409}" dt="2024-03-20T13:35:30.485" v="3927" actId="478"/>
          <ac:grpSpMkLst>
            <pc:docMk/>
            <pc:sldMk cId="4165189419" sldId="361"/>
            <ac:grpSpMk id="98" creationId="{409D8E66-394E-DB24-CA64-FFA4483216FC}"/>
          </ac:grpSpMkLst>
        </pc:grpChg>
        <pc:cxnChg chg="add mod">
          <ac:chgData name="Wang, Han" userId="9a056b73-0254-4e07-9351-ba9f4ce96737" providerId="ADAL" clId="{BE80FE12-4646-4FA4-A284-ABB4D2A3A409}" dt="2024-04-11T09:31:35.732" v="6439" actId="1076"/>
          <ac:cxnSpMkLst>
            <pc:docMk/>
            <pc:sldMk cId="4165189419" sldId="361"/>
            <ac:cxnSpMk id="75" creationId="{AB3C8015-1927-4A05-A069-B41C127FEDB7}"/>
          </ac:cxnSpMkLst>
        </pc:cxnChg>
        <pc:cxnChg chg="add mod">
          <ac:chgData name="Wang, Han" userId="9a056b73-0254-4e07-9351-ba9f4ce96737" providerId="ADAL" clId="{BE80FE12-4646-4FA4-A284-ABB4D2A3A409}" dt="2024-04-11T09:31:35.732" v="6439" actId="1076"/>
          <ac:cxnSpMkLst>
            <pc:docMk/>
            <pc:sldMk cId="4165189419" sldId="361"/>
            <ac:cxnSpMk id="77" creationId="{C1E99FF9-4CF4-C73C-4E50-A1BE1475992E}"/>
          </ac:cxnSpMkLst>
        </pc:cxnChg>
        <pc:cxnChg chg="add mod">
          <ac:chgData name="Wang, Han" userId="9a056b73-0254-4e07-9351-ba9f4ce96737" providerId="ADAL" clId="{BE80FE12-4646-4FA4-A284-ABB4D2A3A409}" dt="2024-04-11T09:31:35.732" v="6439" actId="1076"/>
          <ac:cxnSpMkLst>
            <pc:docMk/>
            <pc:sldMk cId="4165189419" sldId="361"/>
            <ac:cxnSpMk id="84" creationId="{87D78681-3514-0587-1BBF-5FC2EAD84B00}"/>
          </ac:cxnSpMkLst>
        </pc:cxnChg>
        <pc:cxnChg chg="add del mod">
          <ac:chgData name="Wang, Han" userId="9a056b73-0254-4e07-9351-ba9f4ce96737" providerId="ADAL" clId="{BE80FE12-4646-4FA4-A284-ABB4D2A3A409}" dt="2024-03-20T13:34:33.869" v="3918" actId="478"/>
          <ac:cxnSpMkLst>
            <pc:docMk/>
            <pc:sldMk cId="4165189419" sldId="361"/>
            <ac:cxnSpMk id="94" creationId="{7A76F0D8-EA3D-DC16-3EE0-A11DA28F7970}"/>
          </ac:cxnSpMkLst>
        </pc:cxnChg>
        <pc:cxnChg chg="add mod">
          <ac:chgData name="Wang, Han" userId="9a056b73-0254-4e07-9351-ba9f4ce96737" providerId="ADAL" clId="{BE80FE12-4646-4FA4-A284-ABB4D2A3A409}" dt="2024-04-11T09:33:21.420" v="6469" actId="1076"/>
          <ac:cxnSpMkLst>
            <pc:docMk/>
            <pc:sldMk cId="4165189419" sldId="361"/>
            <ac:cxnSpMk id="101" creationId="{F96771EB-B5AE-E7DA-31EB-7EBCA9571E04}"/>
          </ac:cxnSpMkLst>
        </pc:cxnChg>
        <pc:cxnChg chg="add mod">
          <ac:chgData name="Wang, Han" userId="9a056b73-0254-4e07-9351-ba9f4ce96737" providerId="ADAL" clId="{BE80FE12-4646-4FA4-A284-ABB4D2A3A409}" dt="2024-04-11T09:33:21.420" v="6469" actId="1076"/>
          <ac:cxnSpMkLst>
            <pc:docMk/>
            <pc:sldMk cId="4165189419" sldId="361"/>
            <ac:cxnSpMk id="102" creationId="{83087B98-D522-6760-AFAF-4FF4B647D281}"/>
          </ac:cxnSpMkLst>
        </pc:cxnChg>
        <pc:cxnChg chg="add mod">
          <ac:chgData name="Wang, Han" userId="9a056b73-0254-4e07-9351-ba9f4ce96737" providerId="ADAL" clId="{BE80FE12-4646-4FA4-A284-ABB4D2A3A409}" dt="2024-04-11T09:33:21.420" v="6469" actId="1076"/>
          <ac:cxnSpMkLst>
            <pc:docMk/>
            <pc:sldMk cId="4165189419" sldId="361"/>
            <ac:cxnSpMk id="106" creationId="{5BA82F00-3991-76EE-E562-EC580AEE73FA}"/>
          </ac:cxnSpMkLst>
        </pc:cxnChg>
        <pc:cxnChg chg="add mod">
          <ac:chgData name="Wang, Han" userId="9a056b73-0254-4e07-9351-ba9f4ce96737" providerId="ADAL" clId="{BE80FE12-4646-4FA4-A284-ABB4D2A3A409}" dt="2024-04-11T09:33:21.420" v="6469" actId="1076"/>
          <ac:cxnSpMkLst>
            <pc:docMk/>
            <pc:sldMk cId="4165189419" sldId="361"/>
            <ac:cxnSpMk id="107" creationId="{9FF0F7FA-B5C3-2DAB-22AA-C3A4B53B1834}"/>
          </ac:cxnSpMkLst>
        </pc:cxnChg>
        <pc:cxnChg chg="add mod">
          <ac:chgData name="Wang, Han" userId="9a056b73-0254-4e07-9351-ba9f4ce96737" providerId="ADAL" clId="{BE80FE12-4646-4FA4-A284-ABB4D2A3A409}" dt="2024-04-11T09:33:21.420" v="6469" actId="1076"/>
          <ac:cxnSpMkLst>
            <pc:docMk/>
            <pc:sldMk cId="4165189419" sldId="361"/>
            <ac:cxnSpMk id="108" creationId="{EBB53B65-B18F-E34B-1682-1040AAB04AFC}"/>
          </ac:cxnSpMkLst>
        </pc:cxnChg>
        <pc:cxnChg chg="add mod">
          <ac:chgData name="Wang, Han" userId="9a056b73-0254-4e07-9351-ba9f4ce96737" providerId="ADAL" clId="{BE80FE12-4646-4FA4-A284-ABB4D2A3A409}" dt="2024-04-11T09:33:31.371" v="6470" actId="1076"/>
          <ac:cxnSpMkLst>
            <pc:docMk/>
            <pc:sldMk cId="4165189419" sldId="361"/>
            <ac:cxnSpMk id="113" creationId="{8D207E14-731A-EB4D-C4A1-DA8C9FDDCA29}"/>
          </ac:cxnSpMkLst>
        </pc:cxnChg>
        <pc:cxnChg chg="add mod">
          <ac:chgData name="Wang, Han" userId="9a056b73-0254-4e07-9351-ba9f4ce96737" providerId="ADAL" clId="{BE80FE12-4646-4FA4-A284-ABB4D2A3A409}" dt="2024-04-11T09:33:31.371" v="6470" actId="1076"/>
          <ac:cxnSpMkLst>
            <pc:docMk/>
            <pc:sldMk cId="4165189419" sldId="361"/>
            <ac:cxnSpMk id="114" creationId="{050F915B-85CB-770D-148F-C462D0CEF9E1}"/>
          </ac:cxnSpMkLst>
        </pc:cxnChg>
        <pc:cxnChg chg="add mod">
          <ac:chgData name="Wang, Han" userId="9a056b73-0254-4e07-9351-ba9f4ce96737" providerId="ADAL" clId="{BE80FE12-4646-4FA4-A284-ABB4D2A3A409}" dt="2024-04-11T09:33:43.090" v="6471" actId="1076"/>
          <ac:cxnSpMkLst>
            <pc:docMk/>
            <pc:sldMk cId="4165189419" sldId="361"/>
            <ac:cxnSpMk id="115" creationId="{76C29EAB-0CC4-686D-8273-4BF46ED0BEB6}"/>
          </ac:cxnSpMkLst>
        </pc:cxnChg>
        <pc:cxnChg chg="add mod">
          <ac:chgData name="Wang, Han" userId="9a056b73-0254-4e07-9351-ba9f4ce96737" providerId="ADAL" clId="{BE80FE12-4646-4FA4-A284-ABB4D2A3A409}" dt="2024-04-11T09:33:43.090" v="6471" actId="1076"/>
          <ac:cxnSpMkLst>
            <pc:docMk/>
            <pc:sldMk cId="4165189419" sldId="361"/>
            <ac:cxnSpMk id="116" creationId="{15FC136F-8EA2-4019-EFCD-02AD3C9A2294}"/>
          </ac:cxnSpMkLst>
        </pc:cxnChg>
      </pc:sldChg>
      <pc:sldChg chg="addSp delSp modSp new mod">
        <pc:chgData name="Wang, Han" userId="9a056b73-0254-4e07-9351-ba9f4ce96737" providerId="ADAL" clId="{BE80FE12-4646-4FA4-A284-ABB4D2A3A409}" dt="2024-03-21T16:25:27.815" v="6204" actId="20577"/>
        <pc:sldMkLst>
          <pc:docMk/>
          <pc:sldMk cId="3974658285" sldId="362"/>
        </pc:sldMkLst>
        <pc:spChg chg="mod">
          <ac:chgData name="Wang, Han" userId="9a056b73-0254-4e07-9351-ba9f4ce96737" providerId="ADAL" clId="{BE80FE12-4646-4FA4-A284-ABB4D2A3A409}" dt="2024-03-21T11:07:05.443" v="4954" actId="20577"/>
          <ac:spMkLst>
            <pc:docMk/>
            <pc:sldMk cId="3974658285" sldId="362"/>
            <ac:spMk id="2" creationId="{089989A7-6978-A2C2-B339-8A6D70751E46}"/>
          </ac:spMkLst>
        </pc:spChg>
        <pc:spChg chg="mod">
          <ac:chgData name="Wang, Han" userId="9a056b73-0254-4e07-9351-ba9f4ce96737" providerId="ADAL" clId="{BE80FE12-4646-4FA4-A284-ABB4D2A3A409}" dt="2024-03-21T16:17:38.242" v="5784" actId="20577"/>
          <ac:spMkLst>
            <pc:docMk/>
            <pc:sldMk cId="3974658285" sldId="362"/>
            <ac:spMk id="6" creationId="{FE297D66-316F-963E-D878-163285EDD929}"/>
          </ac:spMkLst>
        </pc:spChg>
        <pc:spChg chg="del">
          <ac:chgData name="Wang, Han" userId="9a056b73-0254-4e07-9351-ba9f4ce96737" providerId="ADAL" clId="{BE80FE12-4646-4FA4-A284-ABB4D2A3A409}" dt="2024-03-21T11:06:21.828" v="4915" actId="478"/>
          <ac:spMkLst>
            <pc:docMk/>
            <pc:sldMk cId="3974658285" sldId="362"/>
            <ac:spMk id="7" creationId="{78013B06-AFCE-EB60-E055-F044427E847D}"/>
          </ac:spMkLst>
        </pc:spChg>
        <pc:spChg chg="add del mod">
          <ac:chgData name="Wang, Han" userId="9a056b73-0254-4e07-9351-ba9f4ce96737" providerId="ADAL" clId="{BE80FE12-4646-4FA4-A284-ABB4D2A3A409}" dt="2024-03-21T15:47:10.750" v="5449" actId="478"/>
          <ac:spMkLst>
            <pc:docMk/>
            <pc:sldMk cId="3974658285" sldId="362"/>
            <ac:spMk id="8" creationId="{474BBC18-AF5A-DB38-AFEC-A35D3F520A53}"/>
          </ac:spMkLst>
        </pc:spChg>
        <pc:spChg chg="add del mod">
          <ac:chgData name="Wang, Han" userId="9a056b73-0254-4e07-9351-ba9f4ce96737" providerId="ADAL" clId="{BE80FE12-4646-4FA4-A284-ABB4D2A3A409}" dt="2024-03-21T15:47:10.750" v="5449" actId="478"/>
          <ac:spMkLst>
            <pc:docMk/>
            <pc:sldMk cId="3974658285" sldId="362"/>
            <ac:spMk id="9" creationId="{34D849A2-B280-9102-95E4-06E97F9935F7}"/>
          </ac:spMkLst>
        </pc:spChg>
        <pc:spChg chg="add mod">
          <ac:chgData name="Wang, Han" userId="9a056b73-0254-4e07-9351-ba9f4ce96737" providerId="ADAL" clId="{BE80FE12-4646-4FA4-A284-ABB4D2A3A409}" dt="2024-03-21T12:38:25.470" v="5126" actId="164"/>
          <ac:spMkLst>
            <pc:docMk/>
            <pc:sldMk cId="3974658285" sldId="362"/>
            <ac:spMk id="10" creationId="{0F9EB140-F74D-383C-987F-D3A43EEFC791}"/>
          </ac:spMkLst>
        </pc:spChg>
        <pc:spChg chg="add mod">
          <ac:chgData name="Wang, Han" userId="9a056b73-0254-4e07-9351-ba9f4ce96737" providerId="ADAL" clId="{BE80FE12-4646-4FA4-A284-ABB4D2A3A409}" dt="2024-03-21T12:38:25.470" v="5126" actId="164"/>
          <ac:spMkLst>
            <pc:docMk/>
            <pc:sldMk cId="3974658285" sldId="362"/>
            <ac:spMk id="11" creationId="{5AD4AD71-B5AA-D098-3F50-2902EBF059FA}"/>
          </ac:spMkLst>
        </pc:spChg>
        <pc:spChg chg="add del mod">
          <ac:chgData name="Wang, Han" userId="9a056b73-0254-4e07-9351-ba9f4ce96737" providerId="ADAL" clId="{BE80FE12-4646-4FA4-A284-ABB4D2A3A409}" dt="2024-03-21T15:47:10.750" v="5449" actId="478"/>
          <ac:spMkLst>
            <pc:docMk/>
            <pc:sldMk cId="3974658285" sldId="362"/>
            <ac:spMk id="12" creationId="{7768ACE5-743C-40FD-BE43-56D3810DBED4}"/>
          </ac:spMkLst>
        </pc:spChg>
        <pc:spChg chg="add del mod">
          <ac:chgData name="Wang, Han" userId="9a056b73-0254-4e07-9351-ba9f4ce96737" providerId="ADAL" clId="{BE80FE12-4646-4FA4-A284-ABB4D2A3A409}" dt="2024-03-21T15:47:10.750" v="5449" actId="478"/>
          <ac:spMkLst>
            <pc:docMk/>
            <pc:sldMk cId="3974658285" sldId="362"/>
            <ac:spMk id="14" creationId="{6D704B2B-875E-F188-DD15-7C4E70529082}"/>
          </ac:spMkLst>
        </pc:spChg>
        <pc:spChg chg="add mod">
          <ac:chgData name="Wang, Han" userId="9a056b73-0254-4e07-9351-ba9f4ce96737" providerId="ADAL" clId="{BE80FE12-4646-4FA4-A284-ABB4D2A3A409}" dt="2024-03-21T15:01:49.134" v="5214" actId="164"/>
          <ac:spMkLst>
            <pc:docMk/>
            <pc:sldMk cId="3974658285" sldId="362"/>
            <ac:spMk id="15" creationId="{3DE89DD9-CFC9-FE73-329D-A140BBF31416}"/>
          </ac:spMkLst>
        </pc:spChg>
        <pc:spChg chg="add mod">
          <ac:chgData name="Wang, Han" userId="9a056b73-0254-4e07-9351-ba9f4ce96737" providerId="ADAL" clId="{BE80FE12-4646-4FA4-A284-ABB4D2A3A409}" dt="2024-03-21T15:01:49.134" v="5214" actId="164"/>
          <ac:spMkLst>
            <pc:docMk/>
            <pc:sldMk cId="3974658285" sldId="362"/>
            <ac:spMk id="16" creationId="{8106AD3E-C75B-F404-8E00-7289F8D79541}"/>
          </ac:spMkLst>
        </pc:spChg>
        <pc:spChg chg="add del mod">
          <ac:chgData name="Wang, Han" userId="9a056b73-0254-4e07-9351-ba9f4ce96737" providerId="ADAL" clId="{BE80FE12-4646-4FA4-A284-ABB4D2A3A409}" dt="2024-03-21T15:47:10.750" v="5449" actId="478"/>
          <ac:spMkLst>
            <pc:docMk/>
            <pc:sldMk cId="3974658285" sldId="362"/>
            <ac:spMk id="18" creationId="{9E368D44-ABE5-88AD-A205-8B93422C2CC3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19" creationId="{83A2837F-71C1-6483-5D2A-9D685FF98413}"/>
          </ac:spMkLst>
        </pc:spChg>
        <pc:spChg chg="add mod">
          <ac:chgData name="Wang, Han" userId="9a056b73-0254-4e07-9351-ba9f4ce96737" providerId="ADAL" clId="{BE80FE12-4646-4FA4-A284-ABB4D2A3A409}" dt="2024-03-21T16:00:22.038" v="5500" actId="1076"/>
          <ac:spMkLst>
            <pc:docMk/>
            <pc:sldMk cId="3974658285" sldId="362"/>
            <ac:spMk id="20" creationId="{92B2593E-9C8C-CA19-FFC0-7667A6319C8D}"/>
          </ac:spMkLst>
        </pc:spChg>
        <pc:spChg chg="add mod">
          <ac:chgData name="Wang, Han" userId="9a056b73-0254-4e07-9351-ba9f4ce96737" providerId="ADAL" clId="{BE80FE12-4646-4FA4-A284-ABB4D2A3A409}" dt="2024-03-21T15:59:11.787" v="5498" actId="164"/>
          <ac:spMkLst>
            <pc:docMk/>
            <pc:sldMk cId="3974658285" sldId="362"/>
            <ac:spMk id="21" creationId="{C2A36D2A-85C1-CBCC-1FBD-F0B87ADB5D36}"/>
          </ac:spMkLst>
        </pc:spChg>
        <pc:spChg chg="add mod">
          <ac:chgData name="Wang, Han" userId="9a056b73-0254-4e07-9351-ba9f4ce96737" providerId="ADAL" clId="{BE80FE12-4646-4FA4-A284-ABB4D2A3A409}" dt="2024-03-21T15:59:11.787" v="5498" actId="164"/>
          <ac:spMkLst>
            <pc:docMk/>
            <pc:sldMk cId="3974658285" sldId="362"/>
            <ac:spMk id="22" creationId="{22D21311-5EDA-783B-6AD2-9043BDE217E0}"/>
          </ac:spMkLst>
        </pc:spChg>
        <pc:spChg chg="add mod">
          <ac:chgData name="Wang, Han" userId="9a056b73-0254-4e07-9351-ba9f4ce96737" providerId="ADAL" clId="{BE80FE12-4646-4FA4-A284-ABB4D2A3A409}" dt="2024-03-21T15:59:11.787" v="5498" actId="164"/>
          <ac:spMkLst>
            <pc:docMk/>
            <pc:sldMk cId="3974658285" sldId="362"/>
            <ac:spMk id="23" creationId="{B9FEFA2F-8C4D-1960-91DD-5B566D0B23E9}"/>
          </ac:spMkLst>
        </pc:spChg>
        <pc:spChg chg="add del mod">
          <ac:chgData name="Wang, Han" userId="9a056b73-0254-4e07-9351-ba9f4ce96737" providerId="ADAL" clId="{BE80FE12-4646-4FA4-A284-ABB4D2A3A409}" dt="2024-03-21T15:37:13.359" v="5306" actId="478"/>
          <ac:spMkLst>
            <pc:docMk/>
            <pc:sldMk cId="3974658285" sldId="362"/>
            <ac:spMk id="24" creationId="{9C0A3AA6-FA7D-D562-A954-B23AB6ED9AC4}"/>
          </ac:spMkLst>
        </pc:spChg>
        <pc:spChg chg="add del mod">
          <ac:chgData name="Wang, Han" userId="9a056b73-0254-4e07-9351-ba9f4ce96737" providerId="ADAL" clId="{BE80FE12-4646-4FA4-A284-ABB4D2A3A409}" dt="2024-03-21T15:37:13.359" v="5306" actId="478"/>
          <ac:spMkLst>
            <pc:docMk/>
            <pc:sldMk cId="3974658285" sldId="362"/>
            <ac:spMk id="25" creationId="{9023BBE4-FCB2-4E33-3414-C2F60F23C05D}"/>
          </ac:spMkLst>
        </pc:spChg>
        <pc:spChg chg="add del mod">
          <ac:chgData name="Wang, Han" userId="9a056b73-0254-4e07-9351-ba9f4ce96737" providerId="ADAL" clId="{BE80FE12-4646-4FA4-A284-ABB4D2A3A409}" dt="2024-03-21T15:37:13.359" v="5306" actId="478"/>
          <ac:spMkLst>
            <pc:docMk/>
            <pc:sldMk cId="3974658285" sldId="362"/>
            <ac:spMk id="26" creationId="{7F596B07-6B6D-EB30-BDB1-21B8AA1D86A4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27" creationId="{3067EC08-3D2E-D32E-903C-574E974547C4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28" creationId="{4F439EFB-152F-3363-6A30-824DDB45CD8F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29" creationId="{CCC0064F-4451-30FE-AE63-763DEBF82E78}"/>
          </ac:spMkLst>
        </pc:spChg>
        <pc:spChg chg="add del mod">
          <ac:chgData name="Wang, Han" userId="9a056b73-0254-4e07-9351-ba9f4ce96737" providerId="ADAL" clId="{BE80FE12-4646-4FA4-A284-ABB4D2A3A409}" dt="2024-03-21T15:38:42.192" v="5321" actId="478"/>
          <ac:spMkLst>
            <pc:docMk/>
            <pc:sldMk cId="3974658285" sldId="362"/>
            <ac:spMk id="30" creationId="{420C250F-B6F3-CD87-0000-6ADBC50560CF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31" creationId="{600ABC37-89F6-0BEF-5811-1BCAEFF57851}"/>
          </ac:spMkLst>
        </pc:spChg>
        <pc:spChg chg="add del mod">
          <ac:chgData name="Wang, Han" userId="9a056b73-0254-4e07-9351-ba9f4ce96737" providerId="ADAL" clId="{BE80FE12-4646-4FA4-A284-ABB4D2A3A409}" dt="2024-03-21T15:38:39.984" v="5320" actId="478"/>
          <ac:spMkLst>
            <pc:docMk/>
            <pc:sldMk cId="3974658285" sldId="362"/>
            <ac:spMk id="32" creationId="{A8084239-A78D-9E83-5B0D-0F04CC8FCBA3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33" creationId="{C7545887-C4E4-1A07-C489-005C8E97A543}"/>
          </ac:spMkLst>
        </pc:spChg>
        <pc:spChg chg="add del mod">
          <ac:chgData name="Wang, Han" userId="9a056b73-0254-4e07-9351-ba9f4ce96737" providerId="ADAL" clId="{BE80FE12-4646-4FA4-A284-ABB4D2A3A409}" dt="2024-03-21T15:38:44.057" v="5322" actId="478"/>
          <ac:spMkLst>
            <pc:docMk/>
            <pc:sldMk cId="3974658285" sldId="362"/>
            <ac:spMk id="34" creationId="{12AD0C61-64B7-7EFB-3362-C5F9AB52BC10}"/>
          </ac:spMkLst>
        </pc:spChg>
        <pc:spChg chg="mod">
          <ac:chgData name="Wang, Han" userId="9a056b73-0254-4e07-9351-ba9f4ce96737" providerId="ADAL" clId="{BE80FE12-4646-4FA4-A284-ABB4D2A3A409}" dt="2024-03-21T15:39:58.263" v="5345" actId="571"/>
          <ac:spMkLst>
            <pc:docMk/>
            <pc:sldMk cId="3974658285" sldId="362"/>
            <ac:spMk id="36" creationId="{3DADCFDB-B7C1-A27B-59EF-7A1A7CCB67B7}"/>
          </ac:spMkLst>
        </pc:spChg>
        <pc:spChg chg="mod">
          <ac:chgData name="Wang, Han" userId="9a056b73-0254-4e07-9351-ba9f4ce96737" providerId="ADAL" clId="{BE80FE12-4646-4FA4-A284-ABB4D2A3A409}" dt="2024-03-21T15:39:58.263" v="5345" actId="571"/>
          <ac:spMkLst>
            <pc:docMk/>
            <pc:sldMk cId="3974658285" sldId="362"/>
            <ac:spMk id="37" creationId="{57786228-35AA-B83F-3A6C-55A43039BA7C}"/>
          </ac:spMkLst>
        </pc:spChg>
        <pc:spChg chg="add del mod">
          <ac:chgData name="Wang, Han" userId="9a056b73-0254-4e07-9351-ba9f4ce96737" providerId="ADAL" clId="{BE80FE12-4646-4FA4-A284-ABB4D2A3A409}" dt="2024-03-21T15:42:53.119" v="5375" actId="478"/>
          <ac:spMkLst>
            <pc:docMk/>
            <pc:sldMk cId="3974658285" sldId="362"/>
            <ac:spMk id="38" creationId="{A5FD64EE-8EF4-3C6D-A734-2ED6E1EDFA60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39" creationId="{6795CBBC-33C5-E90F-C6BB-DA71657C3635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40" creationId="{73CD8466-F26D-BDEC-3848-D7E502431310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41" creationId="{D8ACC7E8-1E8B-FA78-5085-A453B48B617B}"/>
          </ac:spMkLst>
        </pc:spChg>
        <pc:spChg chg="add mod">
          <ac:chgData name="Wang, Han" userId="9a056b73-0254-4e07-9351-ba9f4ce96737" providerId="ADAL" clId="{BE80FE12-4646-4FA4-A284-ABB4D2A3A409}" dt="2024-03-21T16:03:59.596" v="5513" actId="1076"/>
          <ac:spMkLst>
            <pc:docMk/>
            <pc:sldMk cId="3974658285" sldId="362"/>
            <ac:spMk id="42" creationId="{760F7BF2-B63E-AF61-0022-5B71ADD7C18B}"/>
          </ac:spMkLst>
        </pc:spChg>
        <pc:spChg chg="add mod">
          <ac:chgData name="Wang, Han" userId="9a056b73-0254-4e07-9351-ba9f4ce96737" providerId="ADAL" clId="{BE80FE12-4646-4FA4-A284-ABB4D2A3A409}" dt="2024-03-21T16:03:59.596" v="5513" actId="1076"/>
          <ac:spMkLst>
            <pc:docMk/>
            <pc:sldMk cId="3974658285" sldId="362"/>
            <ac:spMk id="43" creationId="{FBFFBBFB-ED7E-105D-9ABF-562E45E72BA1}"/>
          </ac:spMkLst>
        </pc:spChg>
        <pc:spChg chg="add mod">
          <ac:chgData name="Wang, Han" userId="9a056b73-0254-4e07-9351-ba9f4ce96737" providerId="ADAL" clId="{BE80FE12-4646-4FA4-A284-ABB4D2A3A409}" dt="2024-03-21T16:00:22.038" v="5500" actId="1076"/>
          <ac:spMkLst>
            <pc:docMk/>
            <pc:sldMk cId="3974658285" sldId="362"/>
            <ac:spMk id="44" creationId="{99D7CCFC-8995-871E-29B1-EDC13B08E0C3}"/>
          </ac:spMkLst>
        </pc:spChg>
        <pc:spChg chg="add mod">
          <ac:chgData name="Wang, Han" userId="9a056b73-0254-4e07-9351-ba9f4ce96737" providerId="ADAL" clId="{BE80FE12-4646-4FA4-A284-ABB4D2A3A409}" dt="2024-03-21T16:03:10.152" v="5510" actId="1076"/>
          <ac:spMkLst>
            <pc:docMk/>
            <pc:sldMk cId="3974658285" sldId="362"/>
            <ac:spMk id="45" creationId="{94DB88E7-A45B-C573-B1AE-50EAA98CFA62}"/>
          </ac:spMkLst>
        </pc:spChg>
        <pc:spChg chg="add mod">
          <ac:chgData name="Wang, Han" userId="9a056b73-0254-4e07-9351-ba9f4ce96737" providerId="ADAL" clId="{BE80FE12-4646-4FA4-A284-ABB4D2A3A409}" dt="2024-03-21T16:09:22.336" v="5588" actId="1076"/>
          <ac:spMkLst>
            <pc:docMk/>
            <pc:sldMk cId="3974658285" sldId="362"/>
            <ac:spMk id="47" creationId="{E6133351-7525-9C13-BAE8-9E014EAA0E79}"/>
          </ac:spMkLst>
        </pc:spChg>
        <pc:spChg chg="add mod">
          <ac:chgData name="Wang, Han" userId="9a056b73-0254-4e07-9351-ba9f4ce96737" providerId="ADAL" clId="{BE80FE12-4646-4FA4-A284-ABB4D2A3A409}" dt="2024-03-21T16:04:28.620" v="5541" actId="1076"/>
          <ac:spMkLst>
            <pc:docMk/>
            <pc:sldMk cId="3974658285" sldId="362"/>
            <ac:spMk id="54" creationId="{93FF6D99-C1F9-1734-BF98-8E97030BAC95}"/>
          </ac:spMkLst>
        </pc:spChg>
        <pc:spChg chg="add mod">
          <ac:chgData name="Wang, Han" userId="9a056b73-0254-4e07-9351-ba9f4ce96737" providerId="ADAL" clId="{BE80FE12-4646-4FA4-A284-ABB4D2A3A409}" dt="2024-03-21T16:05:47.026" v="5587" actId="14100"/>
          <ac:spMkLst>
            <pc:docMk/>
            <pc:sldMk cId="3974658285" sldId="362"/>
            <ac:spMk id="56" creationId="{74AEEBC1-65A6-D242-3CE1-E91F7EAD725C}"/>
          </ac:spMkLst>
        </pc:spChg>
        <pc:spChg chg="add mod">
          <ac:chgData name="Wang, Han" userId="9a056b73-0254-4e07-9351-ba9f4ce96737" providerId="ADAL" clId="{BE80FE12-4646-4FA4-A284-ABB4D2A3A409}" dt="2024-03-21T16:15:25.305" v="5752" actId="1076"/>
          <ac:spMkLst>
            <pc:docMk/>
            <pc:sldMk cId="3974658285" sldId="362"/>
            <ac:spMk id="58" creationId="{BFEBAEF5-D270-7BB4-665C-E39C9B43D5B1}"/>
          </ac:spMkLst>
        </pc:spChg>
        <pc:spChg chg="add mod">
          <ac:chgData name="Wang, Han" userId="9a056b73-0254-4e07-9351-ba9f4ce96737" providerId="ADAL" clId="{BE80FE12-4646-4FA4-A284-ABB4D2A3A409}" dt="2024-03-21T16:15:25.305" v="5752" actId="1076"/>
          <ac:spMkLst>
            <pc:docMk/>
            <pc:sldMk cId="3974658285" sldId="362"/>
            <ac:spMk id="59" creationId="{CA6152CA-C7B8-8284-A9E2-34E94257C09B}"/>
          </ac:spMkLst>
        </pc:spChg>
        <pc:spChg chg="add mod">
          <ac:chgData name="Wang, Han" userId="9a056b73-0254-4e07-9351-ba9f4ce96737" providerId="ADAL" clId="{BE80FE12-4646-4FA4-A284-ABB4D2A3A409}" dt="2024-03-21T16:15:25.305" v="5752" actId="1076"/>
          <ac:spMkLst>
            <pc:docMk/>
            <pc:sldMk cId="3974658285" sldId="362"/>
            <ac:spMk id="60" creationId="{34D44CFC-BB2A-9007-48F1-71F8D61F9084}"/>
          </ac:spMkLst>
        </pc:spChg>
        <pc:spChg chg="add mod">
          <ac:chgData name="Wang, Han" userId="9a056b73-0254-4e07-9351-ba9f4ce96737" providerId="ADAL" clId="{BE80FE12-4646-4FA4-A284-ABB4D2A3A409}" dt="2024-03-21T16:15:35.611" v="5754" actId="1076"/>
          <ac:spMkLst>
            <pc:docMk/>
            <pc:sldMk cId="3974658285" sldId="362"/>
            <ac:spMk id="77" creationId="{E40B34B6-B29B-BD27-E973-5DF7C4C6C536}"/>
          </ac:spMkLst>
        </pc:spChg>
        <pc:spChg chg="add mod">
          <ac:chgData name="Wang, Han" userId="9a056b73-0254-4e07-9351-ba9f4ce96737" providerId="ADAL" clId="{BE80FE12-4646-4FA4-A284-ABB4D2A3A409}" dt="2024-03-21T16:15:45.421" v="5755" actId="1076"/>
          <ac:spMkLst>
            <pc:docMk/>
            <pc:sldMk cId="3974658285" sldId="362"/>
            <ac:spMk id="78" creationId="{28B0FA26-9CA4-F7E0-13B6-A531BB91B445}"/>
          </ac:spMkLst>
        </pc:spChg>
        <pc:spChg chg="add mod">
          <ac:chgData name="Wang, Han" userId="9a056b73-0254-4e07-9351-ba9f4ce96737" providerId="ADAL" clId="{BE80FE12-4646-4FA4-A284-ABB4D2A3A409}" dt="2024-03-21T16:15:45.421" v="5755" actId="1076"/>
          <ac:spMkLst>
            <pc:docMk/>
            <pc:sldMk cId="3974658285" sldId="362"/>
            <ac:spMk id="79" creationId="{26375508-DD33-1B05-0F26-E4F9D3FCF52F}"/>
          </ac:spMkLst>
        </pc:spChg>
        <pc:spChg chg="add del mod">
          <ac:chgData name="Wang, Han" userId="9a056b73-0254-4e07-9351-ba9f4ce96737" providerId="ADAL" clId="{BE80FE12-4646-4FA4-A284-ABB4D2A3A409}" dt="2024-03-21T16:15:06.436" v="5750" actId="478"/>
          <ac:spMkLst>
            <pc:docMk/>
            <pc:sldMk cId="3974658285" sldId="362"/>
            <ac:spMk id="80" creationId="{44E131B9-A7E2-1358-5B1A-803743D72690}"/>
          </ac:spMkLst>
        </pc:spChg>
        <pc:spChg chg="add mod">
          <ac:chgData name="Wang, Han" userId="9a056b73-0254-4e07-9351-ba9f4ce96737" providerId="ADAL" clId="{BE80FE12-4646-4FA4-A284-ABB4D2A3A409}" dt="2024-03-21T16:15:59.803" v="5764" actId="20577"/>
          <ac:spMkLst>
            <pc:docMk/>
            <pc:sldMk cId="3974658285" sldId="362"/>
            <ac:spMk id="82" creationId="{C49A6360-1324-1A3C-D879-8909A059FECD}"/>
          </ac:spMkLst>
        </pc:spChg>
        <pc:spChg chg="add del mod">
          <ac:chgData name="Wang, Han" userId="9a056b73-0254-4e07-9351-ba9f4ce96737" providerId="ADAL" clId="{BE80FE12-4646-4FA4-A284-ABB4D2A3A409}" dt="2024-03-21T16:23:53.083" v="6073" actId="478"/>
          <ac:spMkLst>
            <pc:docMk/>
            <pc:sldMk cId="3974658285" sldId="362"/>
            <ac:spMk id="83" creationId="{B0F95B29-EAD7-1DE1-D1DB-C880C1F862D8}"/>
          </ac:spMkLst>
        </pc:spChg>
        <pc:spChg chg="add mod">
          <ac:chgData name="Wang, Han" userId="9a056b73-0254-4e07-9351-ba9f4ce96737" providerId="ADAL" clId="{BE80FE12-4646-4FA4-A284-ABB4D2A3A409}" dt="2024-03-21T16:25:27.815" v="6204" actId="20577"/>
          <ac:spMkLst>
            <pc:docMk/>
            <pc:sldMk cId="3974658285" sldId="362"/>
            <ac:spMk id="84" creationId="{1B5D9D6C-B9BA-278F-D76B-12F011C8D65F}"/>
          </ac:spMkLst>
        </pc:spChg>
        <pc:spChg chg="add mod">
          <ac:chgData name="Wang, Han" userId="9a056b73-0254-4e07-9351-ba9f4ce96737" providerId="ADAL" clId="{BE80FE12-4646-4FA4-A284-ABB4D2A3A409}" dt="2024-03-21T16:25:26.287" v="6203" actId="20577"/>
          <ac:spMkLst>
            <pc:docMk/>
            <pc:sldMk cId="3974658285" sldId="362"/>
            <ac:spMk id="85" creationId="{4A080558-2B45-3012-54B5-06220A8A3E3C}"/>
          </ac:spMkLst>
        </pc:spChg>
        <pc:spChg chg="add mod">
          <ac:chgData name="Wang, Han" userId="9a056b73-0254-4e07-9351-ba9f4ce96737" providerId="ADAL" clId="{BE80FE12-4646-4FA4-A284-ABB4D2A3A409}" dt="2024-03-21T16:25:23.673" v="6202" actId="20577"/>
          <ac:spMkLst>
            <pc:docMk/>
            <pc:sldMk cId="3974658285" sldId="362"/>
            <ac:spMk id="86" creationId="{AFFFED2E-D2F9-7D69-08F5-FC8BCD019838}"/>
          </ac:spMkLst>
        </pc:spChg>
        <pc:spChg chg="add mod">
          <ac:chgData name="Wang, Han" userId="9a056b73-0254-4e07-9351-ba9f4ce96737" providerId="ADAL" clId="{BE80FE12-4646-4FA4-A284-ABB4D2A3A409}" dt="2024-03-21T16:25:18.906" v="6201" actId="20577"/>
          <ac:spMkLst>
            <pc:docMk/>
            <pc:sldMk cId="3974658285" sldId="362"/>
            <ac:spMk id="87" creationId="{A395EA4F-ECB0-7670-B0EE-008BF1E96FD8}"/>
          </ac:spMkLst>
        </pc:spChg>
        <pc:grpChg chg="add del mod">
          <ac:chgData name="Wang, Han" userId="9a056b73-0254-4e07-9351-ba9f4ce96737" providerId="ADAL" clId="{BE80FE12-4646-4FA4-A284-ABB4D2A3A409}" dt="2024-03-21T15:47:10.750" v="5449" actId="478"/>
          <ac:grpSpMkLst>
            <pc:docMk/>
            <pc:sldMk cId="3974658285" sldId="362"/>
            <ac:grpSpMk id="13" creationId="{8703D4AF-18EC-6A9C-E77B-AF601540ED63}"/>
          </ac:grpSpMkLst>
        </pc:grpChg>
        <pc:grpChg chg="add mod">
          <ac:chgData name="Wang, Han" userId="9a056b73-0254-4e07-9351-ba9f4ce96737" providerId="ADAL" clId="{BE80FE12-4646-4FA4-A284-ABB4D2A3A409}" dt="2024-03-21T16:03:10.152" v="5510" actId="1076"/>
          <ac:grpSpMkLst>
            <pc:docMk/>
            <pc:sldMk cId="3974658285" sldId="362"/>
            <ac:grpSpMk id="17" creationId="{E18CCF5C-227C-C0ED-1513-89E5BBB6F1FC}"/>
          </ac:grpSpMkLst>
        </pc:grpChg>
        <pc:grpChg chg="add mod">
          <ac:chgData name="Wang, Han" userId="9a056b73-0254-4e07-9351-ba9f4ce96737" providerId="ADAL" clId="{BE80FE12-4646-4FA4-A284-ABB4D2A3A409}" dt="2024-03-21T16:03:10.152" v="5510" actId="1076"/>
          <ac:grpSpMkLst>
            <pc:docMk/>
            <pc:sldMk cId="3974658285" sldId="362"/>
            <ac:grpSpMk id="35" creationId="{F01ED4BA-BCA9-6C98-0C4E-899D649A14C3}"/>
          </ac:grpSpMkLst>
        </pc:grpChg>
        <pc:grpChg chg="add mod">
          <ac:chgData name="Wang, Han" userId="9a056b73-0254-4e07-9351-ba9f4ce96737" providerId="ADAL" clId="{BE80FE12-4646-4FA4-A284-ABB4D2A3A409}" dt="2024-03-21T16:03:10.152" v="5510" actId="1076"/>
          <ac:grpSpMkLst>
            <pc:docMk/>
            <pc:sldMk cId="3974658285" sldId="362"/>
            <ac:grpSpMk id="46" creationId="{302415DD-A066-1D3B-D4EF-1E47E767A382}"/>
          </ac:grpSpMkLst>
        </pc:grpChg>
        <pc:cxnChg chg="add mod">
          <ac:chgData name="Wang, Han" userId="9a056b73-0254-4e07-9351-ba9f4ce96737" providerId="ADAL" clId="{BE80FE12-4646-4FA4-A284-ABB4D2A3A409}" dt="2024-03-21T16:09:22.336" v="5588" actId="1076"/>
          <ac:cxnSpMkLst>
            <pc:docMk/>
            <pc:sldMk cId="3974658285" sldId="362"/>
            <ac:cxnSpMk id="49" creationId="{A53A87DE-925F-B773-7E31-BD7EA6C7E0CA}"/>
          </ac:cxnSpMkLst>
        </pc:cxnChg>
        <pc:cxnChg chg="add mod">
          <ac:chgData name="Wang, Han" userId="9a056b73-0254-4e07-9351-ba9f4ce96737" providerId="ADAL" clId="{BE80FE12-4646-4FA4-A284-ABB4D2A3A409}" dt="2024-03-21T16:02:53.571" v="5509" actId="1582"/>
          <ac:cxnSpMkLst>
            <pc:docMk/>
            <pc:sldMk cId="3974658285" sldId="362"/>
            <ac:cxnSpMk id="53" creationId="{231695D7-838B-4C57-5D91-E0AF7BB95947}"/>
          </ac:cxnSpMkLst>
        </pc:cxnChg>
        <pc:cxnChg chg="add mod">
          <ac:chgData name="Wang, Han" userId="9a056b73-0254-4e07-9351-ba9f4ce96737" providerId="ADAL" clId="{BE80FE12-4646-4FA4-A284-ABB4D2A3A409}" dt="2024-03-21T16:04:48.009" v="5544" actId="1582"/>
          <ac:cxnSpMkLst>
            <pc:docMk/>
            <pc:sldMk cId="3974658285" sldId="362"/>
            <ac:cxnSpMk id="55" creationId="{650C6292-191C-4DC4-FABA-A9272C45569B}"/>
          </ac:cxnSpMkLst>
        </pc:cxnChg>
        <pc:cxnChg chg="add mod">
          <ac:chgData name="Wang, Han" userId="9a056b73-0254-4e07-9351-ba9f4ce96737" providerId="ADAL" clId="{BE80FE12-4646-4FA4-A284-ABB4D2A3A409}" dt="2024-03-21T16:11:18.725" v="5636"/>
          <ac:cxnSpMkLst>
            <pc:docMk/>
            <pc:sldMk cId="3974658285" sldId="362"/>
            <ac:cxnSpMk id="62" creationId="{A054EB1F-C604-AC94-C125-3A38651DD07F}"/>
          </ac:cxnSpMkLst>
        </pc:cxnChg>
        <pc:cxnChg chg="add mod">
          <ac:chgData name="Wang, Han" userId="9a056b73-0254-4e07-9351-ba9f4ce96737" providerId="ADAL" clId="{BE80FE12-4646-4FA4-A284-ABB4D2A3A409}" dt="2024-03-21T16:11:28.293" v="5637" actId="571"/>
          <ac:cxnSpMkLst>
            <pc:docMk/>
            <pc:sldMk cId="3974658285" sldId="362"/>
            <ac:cxnSpMk id="63" creationId="{A216B451-DDF0-8CC8-8E92-C66E7CA80AB9}"/>
          </ac:cxnSpMkLst>
        </pc:cxnChg>
        <pc:cxnChg chg="add mod">
          <ac:chgData name="Wang, Han" userId="9a056b73-0254-4e07-9351-ba9f4ce96737" providerId="ADAL" clId="{BE80FE12-4646-4FA4-A284-ABB4D2A3A409}" dt="2024-03-21T16:11:31.905" v="5638" actId="571"/>
          <ac:cxnSpMkLst>
            <pc:docMk/>
            <pc:sldMk cId="3974658285" sldId="362"/>
            <ac:cxnSpMk id="64" creationId="{98086804-FFC1-54E3-3147-6B521C0AE426}"/>
          </ac:cxnSpMkLst>
        </pc:cxnChg>
        <pc:cxnChg chg="add mod">
          <ac:chgData name="Wang, Han" userId="9a056b73-0254-4e07-9351-ba9f4ce96737" providerId="ADAL" clId="{BE80FE12-4646-4FA4-A284-ABB4D2A3A409}" dt="2024-03-21T16:12:07.074" v="5644" actId="553"/>
          <ac:cxnSpMkLst>
            <pc:docMk/>
            <pc:sldMk cId="3974658285" sldId="362"/>
            <ac:cxnSpMk id="65" creationId="{8414E722-4DE9-1D4D-E9A9-17B1F51B48C2}"/>
          </ac:cxnSpMkLst>
        </pc:cxnChg>
        <pc:cxnChg chg="add mod">
          <ac:chgData name="Wang, Han" userId="9a056b73-0254-4e07-9351-ba9f4ce96737" providerId="ADAL" clId="{BE80FE12-4646-4FA4-A284-ABB4D2A3A409}" dt="2024-03-21T16:12:07.074" v="5644" actId="553"/>
          <ac:cxnSpMkLst>
            <pc:docMk/>
            <pc:sldMk cId="3974658285" sldId="362"/>
            <ac:cxnSpMk id="66" creationId="{AB871C6D-714F-2DAD-E129-7CCC5E0D509B}"/>
          </ac:cxnSpMkLst>
        </pc:cxnChg>
        <pc:cxnChg chg="add mod">
          <ac:chgData name="Wang, Han" userId="9a056b73-0254-4e07-9351-ba9f4ce96737" providerId="ADAL" clId="{BE80FE12-4646-4FA4-A284-ABB4D2A3A409}" dt="2024-03-21T16:12:07.074" v="5644" actId="553"/>
          <ac:cxnSpMkLst>
            <pc:docMk/>
            <pc:sldMk cId="3974658285" sldId="362"/>
            <ac:cxnSpMk id="67" creationId="{0E4392A9-5166-8C80-2ECA-E973D5FA6DFC}"/>
          </ac:cxnSpMkLst>
        </pc:cxnChg>
        <pc:cxnChg chg="add mod">
          <ac:chgData name="Wang, Han" userId="9a056b73-0254-4e07-9351-ba9f4ce96737" providerId="ADAL" clId="{BE80FE12-4646-4FA4-A284-ABB4D2A3A409}" dt="2024-03-21T16:12:14.903" v="5645" actId="571"/>
          <ac:cxnSpMkLst>
            <pc:docMk/>
            <pc:sldMk cId="3974658285" sldId="362"/>
            <ac:cxnSpMk id="68" creationId="{B781F0C0-3420-C66A-2041-8005522F4329}"/>
          </ac:cxnSpMkLst>
        </pc:cxnChg>
        <pc:cxnChg chg="add mod">
          <ac:chgData name="Wang, Han" userId="9a056b73-0254-4e07-9351-ba9f4ce96737" providerId="ADAL" clId="{BE80FE12-4646-4FA4-A284-ABB4D2A3A409}" dt="2024-03-21T16:12:19.515" v="5646" actId="571"/>
          <ac:cxnSpMkLst>
            <pc:docMk/>
            <pc:sldMk cId="3974658285" sldId="362"/>
            <ac:cxnSpMk id="69" creationId="{0580D7EF-32EC-E83E-402A-041F7E344C19}"/>
          </ac:cxnSpMkLst>
        </pc:cxnChg>
        <pc:cxnChg chg="add mod">
          <ac:chgData name="Wang, Han" userId="9a056b73-0254-4e07-9351-ba9f4ce96737" providerId="ADAL" clId="{BE80FE12-4646-4FA4-A284-ABB4D2A3A409}" dt="2024-03-21T16:12:31.497" v="5649" actId="1076"/>
          <ac:cxnSpMkLst>
            <pc:docMk/>
            <pc:sldMk cId="3974658285" sldId="362"/>
            <ac:cxnSpMk id="70" creationId="{01D69673-3987-CF2C-45A4-CC7FDBDDDDEC}"/>
          </ac:cxnSpMkLst>
        </pc:cxnChg>
        <pc:cxnChg chg="add mod">
          <ac:chgData name="Wang, Han" userId="9a056b73-0254-4e07-9351-ba9f4ce96737" providerId="ADAL" clId="{BE80FE12-4646-4FA4-A284-ABB4D2A3A409}" dt="2024-03-21T16:12:34.612" v="5650" actId="571"/>
          <ac:cxnSpMkLst>
            <pc:docMk/>
            <pc:sldMk cId="3974658285" sldId="362"/>
            <ac:cxnSpMk id="72" creationId="{8457B087-9502-63E0-084A-73C7D3D08442}"/>
          </ac:cxnSpMkLst>
        </pc:cxnChg>
        <pc:cxnChg chg="add del mod">
          <ac:chgData name="Wang, Han" userId="9a056b73-0254-4e07-9351-ba9f4ce96737" providerId="ADAL" clId="{BE80FE12-4646-4FA4-A284-ABB4D2A3A409}" dt="2024-03-21T16:12:38.243" v="5651" actId="478"/>
          <ac:cxnSpMkLst>
            <pc:docMk/>
            <pc:sldMk cId="3974658285" sldId="362"/>
            <ac:cxnSpMk id="73" creationId="{F5808894-141C-338F-C040-181895862F18}"/>
          </ac:cxnSpMkLst>
        </pc:cxnChg>
        <pc:cxnChg chg="add mod">
          <ac:chgData name="Wang, Han" userId="9a056b73-0254-4e07-9351-ba9f4ce96737" providerId="ADAL" clId="{BE80FE12-4646-4FA4-A284-ABB4D2A3A409}" dt="2024-03-21T16:12:41.823" v="5652" actId="571"/>
          <ac:cxnSpMkLst>
            <pc:docMk/>
            <pc:sldMk cId="3974658285" sldId="362"/>
            <ac:cxnSpMk id="74" creationId="{15EFF5F5-5E70-4D3E-E17B-AEFAC8C51771}"/>
          </ac:cxnSpMkLst>
        </pc:cxnChg>
        <pc:cxnChg chg="add mod">
          <ac:chgData name="Wang, Han" userId="9a056b73-0254-4e07-9351-ba9f4ce96737" providerId="ADAL" clId="{BE80FE12-4646-4FA4-A284-ABB4D2A3A409}" dt="2024-03-21T16:15:29.682" v="5753" actId="1076"/>
          <ac:cxnSpMkLst>
            <pc:docMk/>
            <pc:sldMk cId="3974658285" sldId="362"/>
            <ac:cxnSpMk id="76" creationId="{4356AD56-4FE8-8166-092F-947BDFE1B253}"/>
          </ac:cxnSpMkLst>
        </pc:cxnChg>
        <pc:cxnChg chg="add mod">
          <ac:chgData name="Wang, Han" userId="9a056b73-0254-4e07-9351-ba9f4ce96737" providerId="ADAL" clId="{BE80FE12-4646-4FA4-A284-ABB4D2A3A409}" dt="2024-03-21T16:15:51.045" v="5756" actId="571"/>
          <ac:cxnSpMkLst>
            <pc:docMk/>
            <pc:sldMk cId="3974658285" sldId="362"/>
            <ac:cxnSpMk id="81" creationId="{87E49D6A-A915-B34B-0099-8514B96B4579}"/>
          </ac:cxnSpMkLst>
        </pc:cxnChg>
      </pc:sldChg>
      <pc:sldMasterChg chg="modSp mod">
        <pc:chgData name="Wang, Han" userId="9a056b73-0254-4e07-9351-ba9f4ce96737" providerId="ADAL" clId="{BE80FE12-4646-4FA4-A284-ABB4D2A3A409}" dt="2024-04-11T12:42:41.325" v="6555" actId="20577"/>
        <pc:sldMasterMkLst>
          <pc:docMk/>
          <pc:sldMasterMk cId="357623337" sldId="2147483648"/>
        </pc:sldMasterMkLst>
        <pc:spChg chg="mod">
          <ac:chgData name="Wang, Han" userId="9a056b73-0254-4e07-9351-ba9f4ce96737" providerId="ADAL" clId="{BE80FE12-4646-4FA4-A284-ABB4D2A3A409}" dt="2024-04-11T12:42:41.325" v="6555" actId="20577"/>
          <ac:spMkLst>
            <pc:docMk/>
            <pc:sldMasterMk cId="357623337" sldId="2147483648"/>
            <ac:spMk id="44" creationId="{6C489D0F-950D-4913-86C7-7EB1061786F3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79119F-C342-4DBA-9211-F4375B7FF2D1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C469E6C-F598-4F80-AB6C-46A0783E2A2E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E4F662B-8B67-467B-B579-81B65A21735B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088260-380C-400E-94F1-80576C9596AC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C2951-09AD-4688-B783-DAE1ADDED63E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3568-9F39-45BA-8ABC-B5488CC74074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47F9E9-11D7-474D-A6DA-3492ADD97332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09DD79-ED55-4B70-88EA-06391A367C88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D9D36A6-A034-4164-BBE1-F8AE84912B9F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BE7333-2DF4-417D-84A6-4C1EC6024486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4E2D0BE-C1C0-4F7D-8CA3-1AB441DBDBE6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DE324B6-D7C2-429F-9563-54E4F47990AC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BEEC3F-C136-4E04-8E02-6DF963A6E721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8404E2F-0DC3-491D-BBFF-E567024868D0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 dirty="0"/>
              <a:t>© Fraunhofer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latin typeface="+mj-lt"/>
              </a:rPr>
              <a:t>- </a:t>
            </a:r>
            <a:r>
              <a:rPr lang="en-US" sz="800" b="1" noProof="0" dirty="0">
                <a:latin typeface="+mj-lt"/>
              </a:rPr>
              <a:t>Jointly Learning Selection Matrices for Transmitters Receivers and Fourier Coefficients</a:t>
            </a:r>
            <a:r>
              <a:rPr lang="en-US" sz="800" b="1" dirty="0">
                <a:latin typeface="+mj-lt"/>
              </a:rPr>
              <a:t>-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LogoFusszeile">
            <a:extLst>
              <a:ext uri="{FF2B5EF4-FFF2-40B4-BE49-F238E27FC236}">
                <a16:creationId xmlns:a16="http://schemas.microsoft.com/office/drawing/2014/main" id="{A1A14973-0D19-4698-859C-851A93B6A59A}"/>
              </a:ext>
            </a:extLst>
          </p:cNvPr>
          <p:cNvSpPr/>
          <p:nvPr userDrawn="1"/>
        </p:nvSpPr>
        <p:spPr>
          <a:xfrm>
            <a:off x="10309226" y="6334126"/>
            <a:ext cx="1404000" cy="37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2" name="izfp_rgb">
            <a:extLst>
              <a:ext uri="{FF2B5EF4-FFF2-40B4-BE49-F238E27FC236}">
                <a16:creationId xmlns:a16="http://schemas.microsoft.com/office/drawing/2014/main" id="{D615B574-9A49-405A-8037-F04D4888BA52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309226" y="6269945"/>
            <a:ext cx="1404620" cy="371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9" Type="http://schemas.openxmlformats.org/officeDocument/2006/relationships/image" Target="../media/image1111.png"/><Relationship Id="rId3" Type="http://schemas.openxmlformats.org/officeDocument/2006/relationships/image" Target="../media/image10.png"/><Relationship Id="rId21" Type="http://schemas.openxmlformats.org/officeDocument/2006/relationships/image" Target="../media/image28.png"/><Relationship Id="rId34" Type="http://schemas.openxmlformats.org/officeDocument/2006/relationships/image" Target="../media/image41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5" Type="http://schemas.openxmlformats.org/officeDocument/2006/relationships/image" Target="../media/image32.png"/><Relationship Id="rId33" Type="http://schemas.openxmlformats.org/officeDocument/2006/relationships/image" Target="../media/image40.png"/><Relationship Id="rId38" Type="http://schemas.openxmlformats.org/officeDocument/2006/relationships/image" Target="../media/image45.pn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31.png"/><Relationship Id="rId32" Type="http://schemas.openxmlformats.org/officeDocument/2006/relationships/image" Target="../media/image39.png"/><Relationship Id="rId37" Type="http://schemas.openxmlformats.org/officeDocument/2006/relationships/image" Target="../media/image44.png"/><Relationship Id="rId40" Type="http://schemas.openxmlformats.org/officeDocument/2006/relationships/image" Target="../media/image1211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28" Type="http://schemas.openxmlformats.org/officeDocument/2006/relationships/image" Target="../media/image35.png"/><Relationship Id="rId36" Type="http://schemas.openxmlformats.org/officeDocument/2006/relationships/image" Target="../media/image43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31" Type="http://schemas.openxmlformats.org/officeDocument/2006/relationships/image" Target="../media/image38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png"/><Relationship Id="rId30" Type="http://schemas.openxmlformats.org/officeDocument/2006/relationships/image" Target="../media/image37.png"/><Relationship Id="rId35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7.png"/><Relationship Id="rId18" Type="http://schemas.openxmlformats.org/officeDocument/2006/relationships/image" Target="../media/image72.png"/><Relationship Id="rId26" Type="http://schemas.openxmlformats.org/officeDocument/2006/relationships/image" Target="../media/image80.png"/><Relationship Id="rId39" Type="http://schemas.openxmlformats.org/officeDocument/2006/relationships/image" Target="../media/image93.png"/><Relationship Id="rId21" Type="http://schemas.openxmlformats.org/officeDocument/2006/relationships/image" Target="../media/image75.png"/><Relationship Id="rId34" Type="http://schemas.openxmlformats.org/officeDocument/2006/relationships/image" Target="../media/image88.png"/><Relationship Id="rId42" Type="http://schemas.openxmlformats.org/officeDocument/2006/relationships/image" Target="../media/image96.png"/><Relationship Id="rId47" Type="http://schemas.openxmlformats.org/officeDocument/2006/relationships/image" Target="../media/image101.png"/><Relationship Id="rId50" Type="http://schemas.openxmlformats.org/officeDocument/2006/relationships/image" Target="../media/image104.png"/><Relationship Id="rId55" Type="http://schemas.openxmlformats.org/officeDocument/2006/relationships/image" Target="../media/image1511.png"/><Relationship Id="rId63" Type="http://schemas.openxmlformats.org/officeDocument/2006/relationships/image" Target="../media/image111.png"/><Relationship Id="rId68" Type="http://schemas.openxmlformats.org/officeDocument/2006/relationships/image" Target="../media/image116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6" Type="http://schemas.openxmlformats.org/officeDocument/2006/relationships/image" Target="../media/image70.png"/><Relationship Id="rId29" Type="http://schemas.openxmlformats.org/officeDocument/2006/relationships/image" Target="../media/image8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24" Type="http://schemas.openxmlformats.org/officeDocument/2006/relationships/image" Target="../media/image78.png"/><Relationship Id="rId32" Type="http://schemas.openxmlformats.org/officeDocument/2006/relationships/image" Target="../media/image86.png"/><Relationship Id="rId37" Type="http://schemas.openxmlformats.org/officeDocument/2006/relationships/image" Target="../media/image91.png"/><Relationship Id="rId40" Type="http://schemas.openxmlformats.org/officeDocument/2006/relationships/image" Target="../media/image94.png"/><Relationship Id="rId45" Type="http://schemas.openxmlformats.org/officeDocument/2006/relationships/image" Target="../media/image99.png"/><Relationship Id="rId53" Type="http://schemas.openxmlformats.org/officeDocument/2006/relationships/image" Target="../media/image1311.png"/><Relationship Id="rId58" Type="http://schemas.openxmlformats.org/officeDocument/2006/relationships/image" Target="../media/image55.png"/><Relationship Id="rId66" Type="http://schemas.openxmlformats.org/officeDocument/2006/relationships/image" Target="../media/image114.png"/><Relationship Id="rId5" Type="http://schemas.openxmlformats.org/officeDocument/2006/relationships/image" Target="../media/image59.png"/><Relationship Id="rId15" Type="http://schemas.openxmlformats.org/officeDocument/2006/relationships/image" Target="../media/image69.png"/><Relationship Id="rId23" Type="http://schemas.openxmlformats.org/officeDocument/2006/relationships/image" Target="../media/image77.png"/><Relationship Id="rId28" Type="http://schemas.openxmlformats.org/officeDocument/2006/relationships/image" Target="../media/image82.png"/><Relationship Id="rId36" Type="http://schemas.openxmlformats.org/officeDocument/2006/relationships/image" Target="../media/image90.png"/><Relationship Id="rId49" Type="http://schemas.openxmlformats.org/officeDocument/2006/relationships/image" Target="../media/image103.png"/><Relationship Id="rId57" Type="http://schemas.openxmlformats.org/officeDocument/2006/relationships/image" Target="../media/image179.png"/><Relationship Id="rId61" Type="http://schemas.openxmlformats.org/officeDocument/2006/relationships/image" Target="../media/image109.png"/><Relationship Id="rId10" Type="http://schemas.openxmlformats.org/officeDocument/2006/relationships/image" Target="../media/image64.png"/><Relationship Id="rId19" Type="http://schemas.openxmlformats.org/officeDocument/2006/relationships/image" Target="../media/image73.png"/><Relationship Id="rId31" Type="http://schemas.openxmlformats.org/officeDocument/2006/relationships/image" Target="../media/image85.png"/><Relationship Id="rId44" Type="http://schemas.openxmlformats.org/officeDocument/2006/relationships/image" Target="../media/image98.png"/><Relationship Id="rId52" Type="http://schemas.openxmlformats.org/officeDocument/2006/relationships/image" Target="../media/image106.png"/><Relationship Id="rId60" Type="http://schemas.openxmlformats.org/officeDocument/2006/relationships/image" Target="../media/image108.png"/><Relationship Id="rId65" Type="http://schemas.openxmlformats.org/officeDocument/2006/relationships/image" Target="../media/image113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Relationship Id="rId14" Type="http://schemas.openxmlformats.org/officeDocument/2006/relationships/image" Target="../media/image68.png"/><Relationship Id="rId22" Type="http://schemas.openxmlformats.org/officeDocument/2006/relationships/image" Target="../media/image76.png"/><Relationship Id="rId27" Type="http://schemas.openxmlformats.org/officeDocument/2006/relationships/image" Target="../media/image81.png"/><Relationship Id="rId30" Type="http://schemas.openxmlformats.org/officeDocument/2006/relationships/image" Target="../media/image84.png"/><Relationship Id="rId35" Type="http://schemas.openxmlformats.org/officeDocument/2006/relationships/image" Target="../media/image89.png"/><Relationship Id="rId43" Type="http://schemas.openxmlformats.org/officeDocument/2006/relationships/image" Target="../media/image97.png"/><Relationship Id="rId48" Type="http://schemas.openxmlformats.org/officeDocument/2006/relationships/image" Target="../media/image102.png"/><Relationship Id="rId56" Type="http://schemas.openxmlformats.org/officeDocument/2006/relationships/image" Target="../media/image162.png"/><Relationship Id="rId64" Type="http://schemas.openxmlformats.org/officeDocument/2006/relationships/image" Target="../media/image112.png"/><Relationship Id="rId8" Type="http://schemas.openxmlformats.org/officeDocument/2006/relationships/image" Target="../media/image62.png"/><Relationship Id="rId51" Type="http://schemas.openxmlformats.org/officeDocument/2006/relationships/image" Target="../media/image105.png"/><Relationship Id="rId3" Type="http://schemas.openxmlformats.org/officeDocument/2006/relationships/image" Target="../media/image57.png"/><Relationship Id="rId12" Type="http://schemas.openxmlformats.org/officeDocument/2006/relationships/image" Target="../media/image66.png"/><Relationship Id="rId17" Type="http://schemas.openxmlformats.org/officeDocument/2006/relationships/image" Target="../media/image71.png"/><Relationship Id="rId25" Type="http://schemas.openxmlformats.org/officeDocument/2006/relationships/image" Target="../media/image79.png"/><Relationship Id="rId33" Type="http://schemas.openxmlformats.org/officeDocument/2006/relationships/image" Target="../media/image87.png"/><Relationship Id="rId38" Type="http://schemas.openxmlformats.org/officeDocument/2006/relationships/image" Target="../media/image92.png"/><Relationship Id="rId46" Type="http://schemas.openxmlformats.org/officeDocument/2006/relationships/image" Target="../media/image100.png"/><Relationship Id="rId59" Type="http://schemas.openxmlformats.org/officeDocument/2006/relationships/image" Target="../media/image107.png"/><Relationship Id="rId67" Type="http://schemas.openxmlformats.org/officeDocument/2006/relationships/image" Target="../media/image115.png"/><Relationship Id="rId20" Type="http://schemas.openxmlformats.org/officeDocument/2006/relationships/image" Target="../media/image74.png"/><Relationship Id="rId41" Type="http://schemas.openxmlformats.org/officeDocument/2006/relationships/image" Target="../media/image95.png"/><Relationship Id="rId54" Type="http://schemas.openxmlformats.org/officeDocument/2006/relationships/image" Target="../media/image1411.png"/><Relationship Id="rId62" Type="http://schemas.openxmlformats.org/officeDocument/2006/relationships/image" Target="../media/image1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13" Type="http://schemas.openxmlformats.org/officeDocument/2006/relationships/image" Target="../media/image128.png"/><Relationship Id="rId18" Type="http://schemas.openxmlformats.org/officeDocument/2006/relationships/image" Target="../media/image133.png"/><Relationship Id="rId26" Type="http://schemas.openxmlformats.org/officeDocument/2006/relationships/image" Target="../media/image141.png"/><Relationship Id="rId39" Type="http://schemas.openxmlformats.org/officeDocument/2006/relationships/image" Target="../media/image154.png"/><Relationship Id="rId3" Type="http://schemas.openxmlformats.org/officeDocument/2006/relationships/image" Target="../media/image118.png"/><Relationship Id="rId21" Type="http://schemas.openxmlformats.org/officeDocument/2006/relationships/image" Target="../media/image136.png"/><Relationship Id="rId34" Type="http://schemas.openxmlformats.org/officeDocument/2006/relationships/image" Target="../media/image149.png"/><Relationship Id="rId42" Type="http://schemas.openxmlformats.org/officeDocument/2006/relationships/image" Target="../media/image157.png"/><Relationship Id="rId7" Type="http://schemas.openxmlformats.org/officeDocument/2006/relationships/image" Target="../media/image122.png"/><Relationship Id="rId12" Type="http://schemas.openxmlformats.org/officeDocument/2006/relationships/image" Target="../media/image127.png"/><Relationship Id="rId17" Type="http://schemas.openxmlformats.org/officeDocument/2006/relationships/image" Target="../media/image132.png"/><Relationship Id="rId25" Type="http://schemas.openxmlformats.org/officeDocument/2006/relationships/image" Target="../media/image140.png"/><Relationship Id="rId33" Type="http://schemas.openxmlformats.org/officeDocument/2006/relationships/image" Target="../media/image148.png"/><Relationship Id="rId38" Type="http://schemas.openxmlformats.org/officeDocument/2006/relationships/image" Target="../media/image153.png"/><Relationship Id="rId2" Type="http://schemas.openxmlformats.org/officeDocument/2006/relationships/image" Target="../media/image117.png"/><Relationship Id="rId16" Type="http://schemas.openxmlformats.org/officeDocument/2006/relationships/image" Target="../media/image131.png"/><Relationship Id="rId20" Type="http://schemas.openxmlformats.org/officeDocument/2006/relationships/image" Target="../media/image135.png"/><Relationship Id="rId29" Type="http://schemas.openxmlformats.org/officeDocument/2006/relationships/image" Target="../media/image144.png"/><Relationship Id="rId41" Type="http://schemas.openxmlformats.org/officeDocument/2006/relationships/image" Target="../media/image15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1.png"/><Relationship Id="rId11" Type="http://schemas.openxmlformats.org/officeDocument/2006/relationships/image" Target="../media/image126.png"/><Relationship Id="rId24" Type="http://schemas.openxmlformats.org/officeDocument/2006/relationships/image" Target="../media/image139.png"/><Relationship Id="rId32" Type="http://schemas.openxmlformats.org/officeDocument/2006/relationships/image" Target="../media/image147.png"/><Relationship Id="rId37" Type="http://schemas.openxmlformats.org/officeDocument/2006/relationships/image" Target="../media/image152.png"/><Relationship Id="rId40" Type="http://schemas.openxmlformats.org/officeDocument/2006/relationships/image" Target="../media/image155.png"/><Relationship Id="rId45" Type="http://schemas.openxmlformats.org/officeDocument/2006/relationships/image" Target="../media/image160.png"/><Relationship Id="rId5" Type="http://schemas.openxmlformats.org/officeDocument/2006/relationships/image" Target="../media/image120.png"/><Relationship Id="rId15" Type="http://schemas.openxmlformats.org/officeDocument/2006/relationships/image" Target="../media/image130.png"/><Relationship Id="rId23" Type="http://schemas.openxmlformats.org/officeDocument/2006/relationships/image" Target="../media/image138.png"/><Relationship Id="rId28" Type="http://schemas.openxmlformats.org/officeDocument/2006/relationships/image" Target="../media/image143.png"/><Relationship Id="rId36" Type="http://schemas.openxmlformats.org/officeDocument/2006/relationships/image" Target="../media/image151.png"/><Relationship Id="rId10" Type="http://schemas.openxmlformats.org/officeDocument/2006/relationships/image" Target="../media/image125.png"/><Relationship Id="rId19" Type="http://schemas.openxmlformats.org/officeDocument/2006/relationships/image" Target="../media/image134.png"/><Relationship Id="rId31" Type="http://schemas.openxmlformats.org/officeDocument/2006/relationships/image" Target="../media/image146.png"/><Relationship Id="rId44" Type="http://schemas.openxmlformats.org/officeDocument/2006/relationships/image" Target="../media/image159.png"/><Relationship Id="rId4" Type="http://schemas.openxmlformats.org/officeDocument/2006/relationships/image" Target="../media/image119.png"/><Relationship Id="rId9" Type="http://schemas.openxmlformats.org/officeDocument/2006/relationships/image" Target="../media/image124.png"/><Relationship Id="rId14" Type="http://schemas.openxmlformats.org/officeDocument/2006/relationships/image" Target="../media/image129.png"/><Relationship Id="rId22" Type="http://schemas.openxmlformats.org/officeDocument/2006/relationships/image" Target="../media/image137.png"/><Relationship Id="rId27" Type="http://schemas.openxmlformats.org/officeDocument/2006/relationships/image" Target="../media/image142.png"/><Relationship Id="rId30" Type="http://schemas.openxmlformats.org/officeDocument/2006/relationships/image" Target="../media/image145.png"/><Relationship Id="rId35" Type="http://schemas.openxmlformats.org/officeDocument/2006/relationships/image" Target="../media/image150.png"/><Relationship Id="rId43" Type="http://schemas.openxmlformats.org/officeDocument/2006/relationships/image" Target="../media/image15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3" Type="http://schemas.openxmlformats.org/officeDocument/2006/relationships/image" Target="../media/image164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7.png"/><Relationship Id="rId11" Type="http://schemas.openxmlformats.org/officeDocument/2006/relationships/image" Target="../media/image172.png"/><Relationship Id="rId5" Type="http://schemas.openxmlformats.org/officeDocument/2006/relationships/image" Target="../media/image166.png"/><Relationship Id="rId10" Type="http://schemas.openxmlformats.org/officeDocument/2006/relationships/image" Target="../media/image171.png"/><Relationship Id="rId4" Type="http://schemas.openxmlformats.org/officeDocument/2006/relationships/image" Target="../media/image165.png"/><Relationship Id="rId9" Type="http://schemas.openxmlformats.org/officeDocument/2006/relationships/image" Target="../media/image17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405303"/>
            <a:ext cx="11233150" cy="2047393"/>
          </a:xfrm>
        </p:spPr>
        <p:txBody>
          <a:bodyPr lIns="0"/>
          <a:lstStyle/>
          <a:p>
            <a:pPr lvl="0">
              <a:lnSpc>
                <a:spcPct val="110000"/>
              </a:lnSpc>
            </a:pPr>
            <a:r>
              <a:rPr lang="en-US" sz="4000" dirty="0">
                <a:solidFill>
                  <a:prstClr val="white"/>
                </a:solidFill>
                <a:latin typeface="Frutiger LT Com 65 Bold"/>
              </a:rPr>
              <a:t>Jointly Learning Selection Matrices for Transmitters, Receivers, and Fourier Coefficients</a:t>
            </a:r>
          </a:p>
        </p:txBody>
      </p:sp>
      <p:sp>
        <p:nvSpPr>
          <p:cNvPr id="5" name="Logoarea">
            <a:extLst>
              <a:ext uri="{FF2B5EF4-FFF2-40B4-BE49-F238E27FC236}">
                <a16:creationId xmlns:a16="http://schemas.microsoft.com/office/drawing/2014/main" id="{49D8D605-52AA-4BD2-BBE5-A38289679C80}"/>
              </a:ext>
            </a:extLst>
          </p:cNvPr>
          <p:cNvSpPr/>
          <p:nvPr/>
        </p:nvSpPr>
        <p:spPr bwMode="gray">
          <a:xfrm>
            <a:off x="9192575" y="476250"/>
            <a:ext cx="2520000" cy="900000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r>
              <a:rPr lang="de-DE" dirty="0"/>
              <a:t>Logobereich</a:t>
            </a:r>
          </a:p>
        </p:txBody>
      </p:sp>
      <p:pic>
        <p:nvPicPr>
          <p:cNvPr id="4" name="izfp_rgb_modul">
            <a:extLst>
              <a:ext uri="{FF2B5EF4-FFF2-40B4-BE49-F238E27FC236}">
                <a16:creationId xmlns:a16="http://schemas.microsoft.com/office/drawing/2014/main" id="{58938BC6-0286-4BCC-8EC6-AAF6E11B43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7975" y="476250"/>
            <a:ext cx="2514600" cy="9150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F4C35D-CD01-08B2-E3F4-6AE9040ED3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25" y="478554"/>
            <a:ext cx="290362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691346-5DBE-2464-DB6F-B5E7270C6CDC}"/>
              </a:ext>
            </a:extLst>
          </p:cNvPr>
          <p:cNvSpPr txBox="1"/>
          <p:nvPr/>
        </p:nvSpPr>
        <p:spPr>
          <a:xfrm>
            <a:off x="479425" y="4452696"/>
            <a:ext cx="11233150" cy="2736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400" dirty="0">
                <a:solidFill>
                  <a:schemeClr val="bg1"/>
                </a:solidFill>
                <a:latin typeface="+mj-lt"/>
              </a:rPr>
              <a:t>Han Wang</a:t>
            </a:r>
            <a:r>
              <a:rPr lang="en-US" altLang="zh-CN" sz="2400" baseline="30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*, †</a:t>
            </a:r>
            <a:r>
              <a:rPr lang="en-US" sz="2400" dirty="0">
                <a:solidFill>
                  <a:schemeClr val="bg1"/>
                </a:solidFill>
                <a:latin typeface="+mj-lt"/>
              </a:rPr>
              <a:t>, Yiming Zhou</a:t>
            </a:r>
            <a:r>
              <a:rPr lang="en-US" altLang="zh-CN" sz="2400" baseline="30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, ‡</a:t>
            </a:r>
            <a:r>
              <a:rPr lang="en-US" sz="2400" dirty="0">
                <a:solidFill>
                  <a:schemeClr val="bg1"/>
                </a:solidFill>
                <a:latin typeface="+mj-lt"/>
              </a:rPr>
              <a:t>, Eduardo Pérez</a:t>
            </a:r>
            <a:r>
              <a:rPr lang="en-US" altLang="zh-CN" sz="2400" baseline="30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, †</a:t>
            </a:r>
            <a:r>
              <a:rPr lang="en-US" sz="2400" dirty="0">
                <a:solidFill>
                  <a:schemeClr val="bg1"/>
                </a:solidFill>
                <a:latin typeface="+mj-lt"/>
              </a:rPr>
              <a:t>, Florian Römer</a:t>
            </a:r>
            <a:r>
              <a:rPr lang="en-US" altLang="zh-CN" sz="2400" baseline="30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, †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E057A6-9666-36D0-7683-D9E1DE41CB6D}"/>
              </a:ext>
            </a:extLst>
          </p:cNvPr>
          <p:cNvSpPr txBox="1"/>
          <p:nvPr/>
        </p:nvSpPr>
        <p:spPr>
          <a:xfrm>
            <a:off x="479425" y="5071517"/>
            <a:ext cx="11233150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baseline="30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Applied AI Signal Processing and Data Analysis, Fraunhofer Institute for Nondestructive Testing, German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496984-8486-7F89-706A-C27AFF0C9203}"/>
              </a:ext>
            </a:extLst>
          </p:cNvPr>
          <p:cNvSpPr txBox="1"/>
          <p:nvPr/>
        </p:nvSpPr>
        <p:spPr>
          <a:xfrm>
            <a:off x="479425" y="5393751"/>
            <a:ext cx="11233150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baseline="30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†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Technische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Universität Ilmenau, German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ED30E4-AB64-65A5-7CEC-4A5CAC5BCCC7}"/>
              </a:ext>
            </a:extLst>
          </p:cNvPr>
          <p:cNvSpPr txBox="1"/>
          <p:nvPr/>
        </p:nvSpPr>
        <p:spPr>
          <a:xfrm>
            <a:off x="479425" y="5714254"/>
            <a:ext cx="11233150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baseline="30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‡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Hochschule für Technik and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Wirtschaft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 des </a:t>
            </a:r>
            <a:r>
              <a:rPr lang="en-US" sz="2000" dirty="0" err="1">
                <a:solidFill>
                  <a:schemeClr val="bg1"/>
                </a:solidFill>
                <a:latin typeface="+mj-lt"/>
              </a:rPr>
              <a:t>Saarlandes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, Germany</a:t>
            </a:r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ube 16">
            <a:extLst>
              <a:ext uri="{FF2B5EF4-FFF2-40B4-BE49-F238E27FC236}">
                <a16:creationId xmlns:a16="http://schemas.microsoft.com/office/drawing/2014/main" id="{B319F20E-8208-A361-22A9-A72891798B95}"/>
              </a:ext>
            </a:extLst>
          </p:cNvPr>
          <p:cNvSpPr/>
          <p:nvPr/>
        </p:nvSpPr>
        <p:spPr>
          <a:xfrm>
            <a:off x="9594873" y="1803765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Cube 17">
            <a:extLst>
              <a:ext uri="{FF2B5EF4-FFF2-40B4-BE49-F238E27FC236}">
                <a16:creationId xmlns:a16="http://schemas.microsoft.com/office/drawing/2014/main" id="{7CB863C7-DFE3-0F0B-D6E1-BD46DE7E19A7}"/>
              </a:ext>
            </a:extLst>
          </p:cNvPr>
          <p:cNvSpPr/>
          <p:nvPr/>
        </p:nvSpPr>
        <p:spPr>
          <a:xfrm>
            <a:off x="9097992" y="1803765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Cube 18">
            <a:extLst>
              <a:ext uri="{FF2B5EF4-FFF2-40B4-BE49-F238E27FC236}">
                <a16:creationId xmlns:a16="http://schemas.microsoft.com/office/drawing/2014/main" id="{23F174FD-D0FA-BDD5-9EA2-B68F6D5067FA}"/>
              </a:ext>
            </a:extLst>
          </p:cNvPr>
          <p:cNvSpPr/>
          <p:nvPr/>
        </p:nvSpPr>
        <p:spPr>
          <a:xfrm>
            <a:off x="10091754" y="1803765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Cube 19">
            <a:extLst>
              <a:ext uri="{FF2B5EF4-FFF2-40B4-BE49-F238E27FC236}">
                <a16:creationId xmlns:a16="http://schemas.microsoft.com/office/drawing/2014/main" id="{250F0874-1029-815E-6CBA-F048DA0B04EB}"/>
              </a:ext>
            </a:extLst>
          </p:cNvPr>
          <p:cNvSpPr/>
          <p:nvPr/>
        </p:nvSpPr>
        <p:spPr>
          <a:xfrm>
            <a:off x="10588635" y="1803765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Cube 20">
            <a:extLst>
              <a:ext uri="{FF2B5EF4-FFF2-40B4-BE49-F238E27FC236}">
                <a16:creationId xmlns:a16="http://schemas.microsoft.com/office/drawing/2014/main" id="{1F46B33A-DACE-560C-C111-8BBFB7D49318}"/>
              </a:ext>
            </a:extLst>
          </p:cNvPr>
          <p:cNvSpPr/>
          <p:nvPr/>
        </p:nvSpPr>
        <p:spPr>
          <a:xfrm>
            <a:off x="9385992" y="2146266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Cube 21">
            <a:extLst>
              <a:ext uri="{FF2B5EF4-FFF2-40B4-BE49-F238E27FC236}">
                <a16:creationId xmlns:a16="http://schemas.microsoft.com/office/drawing/2014/main" id="{47F7E979-B6DF-6357-9525-BCF3AE4BEFAF}"/>
              </a:ext>
            </a:extLst>
          </p:cNvPr>
          <p:cNvSpPr/>
          <p:nvPr/>
        </p:nvSpPr>
        <p:spPr>
          <a:xfrm>
            <a:off x="8889111" y="2146266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Cube 22">
            <a:extLst>
              <a:ext uri="{FF2B5EF4-FFF2-40B4-BE49-F238E27FC236}">
                <a16:creationId xmlns:a16="http://schemas.microsoft.com/office/drawing/2014/main" id="{D71C717B-850F-B52C-9116-A10386CB5EB9}"/>
              </a:ext>
            </a:extLst>
          </p:cNvPr>
          <p:cNvSpPr/>
          <p:nvPr/>
        </p:nvSpPr>
        <p:spPr>
          <a:xfrm>
            <a:off x="9882873" y="2146266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4" name="Cube 23">
            <a:extLst>
              <a:ext uri="{FF2B5EF4-FFF2-40B4-BE49-F238E27FC236}">
                <a16:creationId xmlns:a16="http://schemas.microsoft.com/office/drawing/2014/main" id="{8165E4F5-0353-51AF-0177-F965059FE61B}"/>
              </a:ext>
            </a:extLst>
          </p:cNvPr>
          <p:cNvSpPr/>
          <p:nvPr/>
        </p:nvSpPr>
        <p:spPr>
          <a:xfrm>
            <a:off x="10379754" y="2146266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Cube 12">
            <a:extLst>
              <a:ext uri="{FF2B5EF4-FFF2-40B4-BE49-F238E27FC236}">
                <a16:creationId xmlns:a16="http://schemas.microsoft.com/office/drawing/2014/main" id="{1447A1A5-82CB-73F2-B39D-E8103F9DD22D}"/>
              </a:ext>
            </a:extLst>
          </p:cNvPr>
          <p:cNvSpPr/>
          <p:nvPr/>
        </p:nvSpPr>
        <p:spPr>
          <a:xfrm>
            <a:off x="9158387" y="2465199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Cube 13">
            <a:extLst>
              <a:ext uri="{FF2B5EF4-FFF2-40B4-BE49-F238E27FC236}">
                <a16:creationId xmlns:a16="http://schemas.microsoft.com/office/drawing/2014/main" id="{FC4D9C76-C768-E862-CCAD-2E9724D8D109}"/>
              </a:ext>
            </a:extLst>
          </p:cNvPr>
          <p:cNvSpPr/>
          <p:nvPr/>
        </p:nvSpPr>
        <p:spPr>
          <a:xfrm>
            <a:off x="8661506" y="2465199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Cube 14">
            <a:extLst>
              <a:ext uri="{FF2B5EF4-FFF2-40B4-BE49-F238E27FC236}">
                <a16:creationId xmlns:a16="http://schemas.microsoft.com/office/drawing/2014/main" id="{0CEE196B-D187-6762-6848-05D325756895}"/>
              </a:ext>
            </a:extLst>
          </p:cNvPr>
          <p:cNvSpPr/>
          <p:nvPr/>
        </p:nvSpPr>
        <p:spPr>
          <a:xfrm>
            <a:off x="9655268" y="2465199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Cube 15">
            <a:extLst>
              <a:ext uri="{FF2B5EF4-FFF2-40B4-BE49-F238E27FC236}">
                <a16:creationId xmlns:a16="http://schemas.microsoft.com/office/drawing/2014/main" id="{B77D2B96-E806-D20A-99DF-B4A87BD251E7}"/>
              </a:ext>
            </a:extLst>
          </p:cNvPr>
          <p:cNvSpPr/>
          <p:nvPr/>
        </p:nvSpPr>
        <p:spPr>
          <a:xfrm>
            <a:off x="10152149" y="2465199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4A85C2-40F2-427B-8BAA-C42026032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7E36DB-9DA2-A176-13C1-286E8C103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67761E-7D4D-7C7B-7E40-85BD1ED1B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01CB4A-4424-8E7C-BFDA-8FF841668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1B62E9-1FC9-FF2F-0428-C2369D91AA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blem Formulation and Motivation</a:t>
            </a:r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3AEADFEE-336C-9430-FC05-D3D2B28F8F4A}"/>
              </a:ext>
            </a:extLst>
          </p:cNvPr>
          <p:cNvSpPr/>
          <p:nvPr/>
        </p:nvSpPr>
        <p:spPr>
          <a:xfrm>
            <a:off x="8949506" y="2807700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Cube 6">
            <a:extLst>
              <a:ext uri="{FF2B5EF4-FFF2-40B4-BE49-F238E27FC236}">
                <a16:creationId xmlns:a16="http://schemas.microsoft.com/office/drawing/2014/main" id="{E6D68F33-ACF7-28CF-050C-68E6BF8B65A6}"/>
              </a:ext>
            </a:extLst>
          </p:cNvPr>
          <p:cNvSpPr/>
          <p:nvPr/>
        </p:nvSpPr>
        <p:spPr>
          <a:xfrm>
            <a:off x="8452625" y="2807700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Cube 10">
            <a:extLst>
              <a:ext uri="{FF2B5EF4-FFF2-40B4-BE49-F238E27FC236}">
                <a16:creationId xmlns:a16="http://schemas.microsoft.com/office/drawing/2014/main" id="{BD85B186-E558-CB07-D5AB-85AB1823E78A}"/>
              </a:ext>
            </a:extLst>
          </p:cNvPr>
          <p:cNvSpPr/>
          <p:nvPr/>
        </p:nvSpPr>
        <p:spPr>
          <a:xfrm>
            <a:off x="9446387" y="2807700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Cube 11">
            <a:extLst>
              <a:ext uri="{FF2B5EF4-FFF2-40B4-BE49-F238E27FC236}">
                <a16:creationId xmlns:a16="http://schemas.microsoft.com/office/drawing/2014/main" id="{97912FBE-9036-ED22-907C-AF6375CD1528}"/>
              </a:ext>
            </a:extLst>
          </p:cNvPr>
          <p:cNvSpPr/>
          <p:nvPr/>
        </p:nvSpPr>
        <p:spPr>
          <a:xfrm>
            <a:off x="9943268" y="2807700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86112EA-9211-B0FB-33E9-42750A8ADC09}"/>
              </a:ext>
            </a:extLst>
          </p:cNvPr>
          <p:cNvSpPr/>
          <p:nvPr/>
        </p:nvSpPr>
        <p:spPr>
          <a:xfrm>
            <a:off x="1693894" y="3503848"/>
            <a:ext cx="2785406" cy="1345684"/>
          </a:xfrm>
          <a:prstGeom prst="rect">
            <a:avLst/>
          </a:prstGeom>
          <a:pattFill prst="dotGrid">
            <a:fgClr>
              <a:schemeClr val="accent1"/>
            </a:fgClr>
            <a:bgClr>
              <a:schemeClr val="bg1"/>
            </a:bgClr>
          </a:patt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Rechteck 8">
            <a:extLst>
              <a:ext uri="{FF2B5EF4-FFF2-40B4-BE49-F238E27FC236}">
                <a16:creationId xmlns:a16="http://schemas.microsoft.com/office/drawing/2014/main" id="{B3936054-46A1-FAA7-0CC1-ECECDBBF0796}"/>
              </a:ext>
            </a:extLst>
          </p:cNvPr>
          <p:cNvSpPr/>
          <p:nvPr/>
        </p:nvSpPr>
        <p:spPr>
          <a:xfrm>
            <a:off x="1593473" y="2227297"/>
            <a:ext cx="2988000" cy="143163"/>
          </a:xfrm>
          <a:prstGeom prst="rect">
            <a:avLst/>
          </a:prstGeom>
          <a:noFill/>
          <a:ln w="28575">
            <a:solidFill>
              <a:srgbClr val="D5E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27" name="Gruppieren 251">
            <a:extLst>
              <a:ext uri="{FF2B5EF4-FFF2-40B4-BE49-F238E27FC236}">
                <a16:creationId xmlns:a16="http://schemas.microsoft.com/office/drawing/2014/main" id="{1D65FF0F-E266-19ED-02EB-E8B88FF1D41C}"/>
              </a:ext>
            </a:extLst>
          </p:cNvPr>
          <p:cNvGrpSpPr/>
          <p:nvPr/>
        </p:nvGrpSpPr>
        <p:grpSpPr>
          <a:xfrm>
            <a:off x="1269909" y="1951112"/>
            <a:ext cx="900000" cy="900000"/>
            <a:chOff x="5384854" y="967565"/>
            <a:chExt cx="900000" cy="900000"/>
          </a:xfrm>
        </p:grpSpPr>
        <p:sp>
          <p:nvSpPr>
            <p:cNvPr id="28" name="Bogen 246">
              <a:extLst>
                <a:ext uri="{FF2B5EF4-FFF2-40B4-BE49-F238E27FC236}">
                  <a16:creationId xmlns:a16="http://schemas.microsoft.com/office/drawing/2014/main" id="{D8E9B5EF-B7D9-7460-AA64-7810F8F759C7}"/>
                </a:ext>
              </a:extLst>
            </p:cNvPr>
            <p:cNvSpPr/>
            <p:nvPr/>
          </p:nvSpPr>
          <p:spPr>
            <a:xfrm>
              <a:off x="5564854" y="1147675"/>
              <a:ext cx="540000" cy="54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Bogen 247">
              <a:extLst>
                <a:ext uri="{FF2B5EF4-FFF2-40B4-BE49-F238E27FC236}">
                  <a16:creationId xmlns:a16="http://schemas.microsoft.com/office/drawing/2014/main" id="{6AC015A9-C597-CEBF-C7D3-57C1316D85AF}"/>
                </a:ext>
              </a:extLst>
            </p:cNvPr>
            <p:cNvSpPr/>
            <p:nvPr/>
          </p:nvSpPr>
          <p:spPr>
            <a:xfrm>
              <a:off x="5384854" y="967565"/>
              <a:ext cx="900000" cy="90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Bogen 248">
              <a:extLst>
                <a:ext uri="{FF2B5EF4-FFF2-40B4-BE49-F238E27FC236}">
                  <a16:creationId xmlns:a16="http://schemas.microsoft.com/office/drawing/2014/main" id="{3C2169C2-9EDD-5E76-03FE-3A9AE374D609}"/>
                </a:ext>
              </a:extLst>
            </p:cNvPr>
            <p:cNvSpPr/>
            <p:nvPr/>
          </p:nvSpPr>
          <p:spPr>
            <a:xfrm>
              <a:off x="5481893" y="1057565"/>
              <a:ext cx="720000" cy="72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Bogen 249">
              <a:extLst>
                <a:ext uri="{FF2B5EF4-FFF2-40B4-BE49-F238E27FC236}">
                  <a16:creationId xmlns:a16="http://schemas.microsoft.com/office/drawing/2014/main" id="{82013DA6-E542-027D-8568-112B682B685C}"/>
                </a:ext>
              </a:extLst>
            </p:cNvPr>
            <p:cNvSpPr/>
            <p:nvPr/>
          </p:nvSpPr>
          <p:spPr>
            <a:xfrm>
              <a:off x="5654854" y="1237566"/>
              <a:ext cx="360000" cy="36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Bogen 250">
              <a:extLst>
                <a:ext uri="{FF2B5EF4-FFF2-40B4-BE49-F238E27FC236}">
                  <a16:creationId xmlns:a16="http://schemas.microsoft.com/office/drawing/2014/main" id="{DCE95DA4-A6D4-57BB-2DE8-3DC79560D222}"/>
                </a:ext>
              </a:extLst>
            </p:cNvPr>
            <p:cNvSpPr/>
            <p:nvPr/>
          </p:nvSpPr>
          <p:spPr>
            <a:xfrm>
              <a:off x="5751893" y="1327565"/>
              <a:ext cx="180000" cy="18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3" name="Rechteck 200">
            <a:extLst>
              <a:ext uri="{FF2B5EF4-FFF2-40B4-BE49-F238E27FC236}">
                <a16:creationId xmlns:a16="http://schemas.microsoft.com/office/drawing/2014/main" id="{1D5808BE-4969-CA5A-815B-461E05282DC5}"/>
              </a:ext>
            </a:extLst>
          </p:cNvPr>
          <p:cNvSpPr/>
          <p:nvPr/>
        </p:nvSpPr>
        <p:spPr>
          <a:xfrm>
            <a:off x="3015526" y="4138880"/>
            <a:ext cx="71071" cy="7696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grpSp>
        <p:nvGrpSpPr>
          <p:cNvPr id="34" name="Gruppieren 258">
            <a:extLst>
              <a:ext uri="{FF2B5EF4-FFF2-40B4-BE49-F238E27FC236}">
                <a16:creationId xmlns:a16="http://schemas.microsoft.com/office/drawing/2014/main" id="{5390804E-839B-8A78-ED2E-B2B9B765978A}"/>
              </a:ext>
            </a:extLst>
          </p:cNvPr>
          <p:cNvGrpSpPr/>
          <p:nvPr/>
        </p:nvGrpSpPr>
        <p:grpSpPr>
          <a:xfrm rot="10800000">
            <a:off x="2691061" y="3768068"/>
            <a:ext cx="720000" cy="720000"/>
            <a:chOff x="5481893" y="1057565"/>
            <a:chExt cx="720000" cy="720000"/>
          </a:xfrm>
        </p:grpSpPr>
        <p:sp>
          <p:nvSpPr>
            <p:cNvPr id="35" name="Bogen 259">
              <a:extLst>
                <a:ext uri="{FF2B5EF4-FFF2-40B4-BE49-F238E27FC236}">
                  <a16:creationId xmlns:a16="http://schemas.microsoft.com/office/drawing/2014/main" id="{70AB058F-6297-FC60-5766-77FD3256A43B}"/>
                </a:ext>
              </a:extLst>
            </p:cNvPr>
            <p:cNvSpPr/>
            <p:nvPr/>
          </p:nvSpPr>
          <p:spPr>
            <a:xfrm>
              <a:off x="5564854" y="1147675"/>
              <a:ext cx="540000" cy="540000"/>
            </a:xfrm>
            <a:prstGeom prst="arc">
              <a:avLst>
                <a:gd name="adj1" fmla="val 1595412"/>
                <a:gd name="adj2" fmla="val 8950704"/>
              </a:avLst>
            </a:prstGeom>
            <a:ln w="28575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Bogen 260">
              <a:extLst>
                <a:ext uri="{FF2B5EF4-FFF2-40B4-BE49-F238E27FC236}">
                  <a16:creationId xmlns:a16="http://schemas.microsoft.com/office/drawing/2014/main" id="{06655A35-48CE-1DA3-1563-C797CE4F3FA7}"/>
                </a:ext>
              </a:extLst>
            </p:cNvPr>
            <p:cNvSpPr/>
            <p:nvPr/>
          </p:nvSpPr>
          <p:spPr>
            <a:xfrm>
              <a:off x="5481893" y="1057565"/>
              <a:ext cx="720000" cy="720000"/>
            </a:xfrm>
            <a:prstGeom prst="arc">
              <a:avLst>
                <a:gd name="adj1" fmla="val 1601588"/>
                <a:gd name="adj2" fmla="val 8828746"/>
              </a:avLst>
            </a:prstGeom>
            <a:ln w="28575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Bogen 261">
              <a:extLst>
                <a:ext uri="{FF2B5EF4-FFF2-40B4-BE49-F238E27FC236}">
                  <a16:creationId xmlns:a16="http://schemas.microsoft.com/office/drawing/2014/main" id="{8F8F3758-CEBD-3463-AF6A-7B2CE04B507D}"/>
                </a:ext>
              </a:extLst>
            </p:cNvPr>
            <p:cNvSpPr/>
            <p:nvPr/>
          </p:nvSpPr>
          <p:spPr>
            <a:xfrm>
              <a:off x="5654854" y="1237566"/>
              <a:ext cx="360000" cy="360000"/>
            </a:xfrm>
            <a:prstGeom prst="arc">
              <a:avLst>
                <a:gd name="adj1" fmla="val 1058987"/>
                <a:gd name="adj2" fmla="val 9598638"/>
              </a:avLst>
            </a:prstGeom>
            <a:ln w="28575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Bogen 262">
              <a:extLst>
                <a:ext uri="{FF2B5EF4-FFF2-40B4-BE49-F238E27FC236}">
                  <a16:creationId xmlns:a16="http://schemas.microsoft.com/office/drawing/2014/main" id="{FC855A8E-BB11-6DB4-1BA6-018BC8B2A938}"/>
                </a:ext>
              </a:extLst>
            </p:cNvPr>
            <p:cNvSpPr/>
            <p:nvPr/>
          </p:nvSpPr>
          <p:spPr>
            <a:xfrm>
              <a:off x="5751893" y="1327565"/>
              <a:ext cx="180000" cy="180000"/>
            </a:xfrm>
            <a:prstGeom prst="arc">
              <a:avLst>
                <a:gd name="adj1" fmla="val 715062"/>
                <a:gd name="adj2" fmla="val 9950078"/>
              </a:avLst>
            </a:prstGeom>
            <a:ln w="28575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9" name="Rechteck 278">
            <a:extLst>
              <a:ext uri="{FF2B5EF4-FFF2-40B4-BE49-F238E27FC236}">
                <a16:creationId xmlns:a16="http://schemas.microsoft.com/office/drawing/2014/main" id="{E5714932-DB43-7F31-9026-63D9EC380103}"/>
              </a:ext>
            </a:extLst>
          </p:cNvPr>
          <p:cNvSpPr/>
          <p:nvPr/>
        </p:nvSpPr>
        <p:spPr>
          <a:xfrm>
            <a:off x="1654259" y="2221832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0" name="Rechteck 278">
            <a:extLst>
              <a:ext uri="{FF2B5EF4-FFF2-40B4-BE49-F238E27FC236}">
                <a16:creationId xmlns:a16="http://schemas.microsoft.com/office/drawing/2014/main" id="{E86AA332-800E-65C6-2599-FCFA11534D37}"/>
              </a:ext>
            </a:extLst>
          </p:cNvPr>
          <p:cNvSpPr/>
          <p:nvPr/>
        </p:nvSpPr>
        <p:spPr>
          <a:xfrm>
            <a:off x="1835861" y="2221832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1" name="Rechteck 278">
            <a:extLst>
              <a:ext uri="{FF2B5EF4-FFF2-40B4-BE49-F238E27FC236}">
                <a16:creationId xmlns:a16="http://schemas.microsoft.com/office/drawing/2014/main" id="{711B6069-B299-FD9F-B071-9C0CD3C03C3E}"/>
              </a:ext>
            </a:extLst>
          </p:cNvPr>
          <p:cNvSpPr/>
          <p:nvPr/>
        </p:nvSpPr>
        <p:spPr>
          <a:xfrm>
            <a:off x="2017463" y="2221832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2" name="Rechteck 278">
            <a:extLst>
              <a:ext uri="{FF2B5EF4-FFF2-40B4-BE49-F238E27FC236}">
                <a16:creationId xmlns:a16="http://schemas.microsoft.com/office/drawing/2014/main" id="{044C805A-53BE-63A7-5FE9-942DD5DA06D8}"/>
              </a:ext>
            </a:extLst>
          </p:cNvPr>
          <p:cNvSpPr/>
          <p:nvPr/>
        </p:nvSpPr>
        <p:spPr>
          <a:xfrm>
            <a:off x="2199065" y="2221832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3" name="Rechteck 278">
            <a:extLst>
              <a:ext uri="{FF2B5EF4-FFF2-40B4-BE49-F238E27FC236}">
                <a16:creationId xmlns:a16="http://schemas.microsoft.com/office/drawing/2014/main" id="{7AF0D791-0A9A-833A-1F0E-B4D4E579C810}"/>
              </a:ext>
            </a:extLst>
          </p:cNvPr>
          <p:cNvSpPr/>
          <p:nvPr/>
        </p:nvSpPr>
        <p:spPr>
          <a:xfrm>
            <a:off x="2380667" y="2219988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4" name="Rechteck 278">
            <a:extLst>
              <a:ext uri="{FF2B5EF4-FFF2-40B4-BE49-F238E27FC236}">
                <a16:creationId xmlns:a16="http://schemas.microsoft.com/office/drawing/2014/main" id="{EC364608-0966-66CB-3A92-3D4B82223F9A}"/>
              </a:ext>
            </a:extLst>
          </p:cNvPr>
          <p:cNvSpPr/>
          <p:nvPr/>
        </p:nvSpPr>
        <p:spPr>
          <a:xfrm>
            <a:off x="2562269" y="2219988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5" name="Rechteck 278">
            <a:extLst>
              <a:ext uri="{FF2B5EF4-FFF2-40B4-BE49-F238E27FC236}">
                <a16:creationId xmlns:a16="http://schemas.microsoft.com/office/drawing/2014/main" id="{36AACE86-9B93-377D-64EF-DF3AFC23A659}"/>
              </a:ext>
            </a:extLst>
          </p:cNvPr>
          <p:cNvSpPr/>
          <p:nvPr/>
        </p:nvSpPr>
        <p:spPr>
          <a:xfrm>
            <a:off x="2743871" y="2219988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6" name="Rechteck 278">
            <a:extLst>
              <a:ext uri="{FF2B5EF4-FFF2-40B4-BE49-F238E27FC236}">
                <a16:creationId xmlns:a16="http://schemas.microsoft.com/office/drawing/2014/main" id="{E71789B9-19BF-3A80-C5ED-AA7810D030C2}"/>
              </a:ext>
            </a:extLst>
          </p:cNvPr>
          <p:cNvSpPr/>
          <p:nvPr/>
        </p:nvSpPr>
        <p:spPr>
          <a:xfrm>
            <a:off x="2925473" y="2219988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7" name="Rechteck 278">
            <a:extLst>
              <a:ext uri="{FF2B5EF4-FFF2-40B4-BE49-F238E27FC236}">
                <a16:creationId xmlns:a16="http://schemas.microsoft.com/office/drawing/2014/main" id="{6EBFE2A1-8AD3-6969-1EAC-489653224E88}"/>
              </a:ext>
            </a:extLst>
          </p:cNvPr>
          <p:cNvSpPr/>
          <p:nvPr/>
        </p:nvSpPr>
        <p:spPr>
          <a:xfrm>
            <a:off x="3107075" y="2221832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8" name="Rechteck 278">
            <a:extLst>
              <a:ext uri="{FF2B5EF4-FFF2-40B4-BE49-F238E27FC236}">
                <a16:creationId xmlns:a16="http://schemas.microsoft.com/office/drawing/2014/main" id="{DDC111DE-86FA-DE19-0550-18B1E2789A58}"/>
              </a:ext>
            </a:extLst>
          </p:cNvPr>
          <p:cNvSpPr/>
          <p:nvPr/>
        </p:nvSpPr>
        <p:spPr>
          <a:xfrm>
            <a:off x="3288677" y="2221832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9" name="Rechteck 278">
            <a:extLst>
              <a:ext uri="{FF2B5EF4-FFF2-40B4-BE49-F238E27FC236}">
                <a16:creationId xmlns:a16="http://schemas.microsoft.com/office/drawing/2014/main" id="{51691EA9-30CF-7691-E962-167ED76D1F72}"/>
              </a:ext>
            </a:extLst>
          </p:cNvPr>
          <p:cNvSpPr/>
          <p:nvPr/>
        </p:nvSpPr>
        <p:spPr>
          <a:xfrm>
            <a:off x="3470279" y="2221832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0" name="Rechteck 278">
            <a:extLst>
              <a:ext uri="{FF2B5EF4-FFF2-40B4-BE49-F238E27FC236}">
                <a16:creationId xmlns:a16="http://schemas.microsoft.com/office/drawing/2014/main" id="{B50DC481-A3E4-BEF3-9A9F-93C189EDBBE7}"/>
              </a:ext>
            </a:extLst>
          </p:cNvPr>
          <p:cNvSpPr/>
          <p:nvPr/>
        </p:nvSpPr>
        <p:spPr>
          <a:xfrm>
            <a:off x="3651881" y="2221832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1" name="Rechteck 278">
            <a:extLst>
              <a:ext uri="{FF2B5EF4-FFF2-40B4-BE49-F238E27FC236}">
                <a16:creationId xmlns:a16="http://schemas.microsoft.com/office/drawing/2014/main" id="{6B92164A-FB8B-67D7-085B-07A9539D1EA9}"/>
              </a:ext>
            </a:extLst>
          </p:cNvPr>
          <p:cNvSpPr/>
          <p:nvPr/>
        </p:nvSpPr>
        <p:spPr>
          <a:xfrm>
            <a:off x="3833483" y="2219988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2" name="Rechteck 278">
            <a:extLst>
              <a:ext uri="{FF2B5EF4-FFF2-40B4-BE49-F238E27FC236}">
                <a16:creationId xmlns:a16="http://schemas.microsoft.com/office/drawing/2014/main" id="{8D435D95-0733-CD98-C3ED-5E36D1531909}"/>
              </a:ext>
            </a:extLst>
          </p:cNvPr>
          <p:cNvSpPr/>
          <p:nvPr/>
        </p:nvSpPr>
        <p:spPr>
          <a:xfrm>
            <a:off x="4015085" y="2219988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3" name="Rechteck 278">
            <a:extLst>
              <a:ext uri="{FF2B5EF4-FFF2-40B4-BE49-F238E27FC236}">
                <a16:creationId xmlns:a16="http://schemas.microsoft.com/office/drawing/2014/main" id="{BAA3E691-10A1-DBA2-0860-D200D8426657}"/>
              </a:ext>
            </a:extLst>
          </p:cNvPr>
          <p:cNvSpPr/>
          <p:nvPr/>
        </p:nvSpPr>
        <p:spPr>
          <a:xfrm>
            <a:off x="4196687" y="2219988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4" name="Rechteck 278">
            <a:extLst>
              <a:ext uri="{FF2B5EF4-FFF2-40B4-BE49-F238E27FC236}">
                <a16:creationId xmlns:a16="http://schemas.microsoft.com/office/drawing/2014/main" id="{10104FBF-A333-178E-622F-F7E3238FEE23}"/>
              </a:ext>
            </a:extLst>
          </p:cNvPr>
          <p:cNvSpPr/>
          <p:nvPr/>
        </p:nvSpPr>
        <p:spPr>
          <a:xfrm>
            <a:off x="4378293" y="2219988"/>
            <a:ext cx="144000" cy="144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C7F0AD08-DFF5-6E05-DD4D-98E2EBD36FAF}"/>
              </a:ext>
            </a:extLst>
          </p:cNvPr>
          <p:cNvSpPr/>
          <p:nvPr/>
        </p:nvSpPr>
        <p:spPr>
          <a:xfrm>
            <a:off x="940922" y="1916049"/>
            <a:ext cx="650018" cy="460851"/>
          </a:xfrm>
          <a:custGeom>
            <a:avLst/>
            <a:gdLst>
              <a:gd name="connsiteX0" fmla="*/ 643030 w 643114"/>
              <a:gd name="connsiteY0" fmla="*/ 365760 h 460851"/>
              <a:gd name="connsiteX1" fmla="*/ 578137 w 643114"/>
              <a:gd name="connsiteY1" fmla="*/ 412955 h 460851"/>
              <a:gd name="connsiteX2" fmla="*/ 247773 w 643114"/>
              <a:gd name="connsiteY2" fmla="*/ 442452 h 460851"/>
              <a:gd name="connsiteX3" fmla="*/ 194679 w 643114"/>
              <a:gd name="connsiteY3" fmla="*/ 112088 h 460851"/>
              <a:gd name="connsiteX4" fmla="*/ 0 w 643114"/>
              <a:gd name="connsiteY4" fmla="*/ 0 h 460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3114" h="460851">
                <a:moveTo>
                  <a:pt x="643030" y="365760"/>
                </a:moveTo>
                <a:cubicBezTo>
                  <a:pt x="643521" y="382966"/>
                  <a:pt x="644013" y="400173"/>
                  <a:pt x="578137" y="412955"/>
                </a:cubicBezTo>
                <a:cubicBezTo>
                  <a:pt x="512261" y="425737"/>
                  <a:pt x="311683" y="492597"/>
                  <a:pt x="247773" y="442452"/>
                </a:cubicBezTo>
                <a:cubicBezTo>
                  <a:pt x="183863" y="392308"/>
                  <a:pt x="235974" y="185830"/>
                  <a:pt x="194679" y="112088"/>
                </a:cubicBezTo>
                <a:cubicBezTo>
                  <a:pt x="153383" y="38346"/>
                  <a:pt x="76691" y="19173"/>
                  <a:pt x="0" y="0"/>
                </a:cubicBezTo>
              </a:path>
            </a:pathLst>
          </a:custGeom>
          <a:noFill/>
          <a:ln w="28575">
            <a:solidFill>
              <a:srgbClr val="D5E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63B91A5A-C68E-29DB-2071-44402EC0483F}"/>
              </a:ext>
            </a:extLst>
          </p:cNvPr>
          <p:cNvSpPr/>
          <p:nvPr/>
        </p:nvSpPr>
        <p:spPr>
          <a:xfrm>
            <a:off x="4588612" y="1804417"/>
            <a:ext cx="895350" cy="497681"/>
          </a:xfrm>
          <a:custGeom>
            <a:avLst/>
            <a:gdLst>
              <a:gd name="connsiteX0" fmla="*/ 0 w 895350"/>
              <a:gd name="connsiteY0" fmla="*/ 497681 h 497681"/>
              <a:gd name="connsiteX1" fmla="*/ 283368 w 895350"/>
              <a:gd name="connsiteY1" fmla="*/ 376238 h 497681"/>
              <a:gd name="connsiteX2" fmla="*/ 642937 w 895350"/>
              <a:gd name="connsiteY2" fmla="*/ 450056 h 497681"/>
              <a:gd name="connsiteX3" fmla="*/ 895350 w 895350"/>
              <a:gd name="connsiteY3" fmla="*/ 0 h 497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5350" h="497681">
                <a:moveTo>
                  <a:pt x="0" y="497681"/>
                </a:moveTo>
                <a:cubicBezTo>
                  <a:pt x="88106" y="440928"/>
                  <a:pt x="176212" y="384175"/>
                  <a:pt x="283368" y="376238"/>
                </a:cubicBezTo>
                <a:cubicBezTo>
                  <a:pt x="390524" y="368301"/>
                  <a:pt x="540940" y="512762"/>
                  <a:pt x="642937" y="450056"/>
                </a:cubicBezTo>
                <a:cubicBezTo>
                  <a:pt x="744934" y="387350"/>
                  <a:pt x="820142" y="193675"/>
                  <a:pt x="895350" y="0"/>
                </a:cubicBezTo>
              </a:path>
            </a:pathLst>
          </a:custGeom>
          <a:noFill/>
          <a:ln w="28575">
            <a:solidFill>
              <a:srgbClr val="D5E8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75610860-B9AD-D504-D613-A2D0675B3993}"/>
              </a:ext>
            </a:extLst>
          </p:cNvPr>
          <p:cNvCxnSpPr/>
          <p:nvPr/>
        </p:nvCxnSpPr>
        <p:spPr>
          <a:xfrm>
            <a:off x="2631301" y="2671222"/>
            <a:ext cx="801376" cy="0"/>
          </a:xfrm>
          <a:prstGeom prst="straightConnector1">
            <a:avLst/>
          </a:prstGeom>
          <a:ln w="28575">
            <a:solidFill>
              <a:srgbClr val="D5E8D5"/>
            </a:solidFill>
            <a:prstDash val="dash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uppieren 251">
            <a:extLst>
              <a:ext uri="{FF2B5EF4-FFF2-40B4-BE49-F238E27FC236}">
                <a16:creationId xmlns:a16="http://schemas.microsoft.com/office/drawing/2014/main" id="{68A4977F-8EF2-898A-A278-C99A9E750313}"/>
              </a:ext>
            </a:extLst>
          </p:cNvPr>
          <p:cNvGrpSpPr/>
          <p:nvPr/>
        </p:nvGrpSpPr>
        <p:grpSpPr>
          <a:xfrm>
            <a:off x="3982833" y="1951112"/>
            <a:ext cx="900000" cy="900000"/>
            <a:chOff x="5384854" y="967565"/>
            <a:chExt cx="900000" cy="900000"/>
          </a:xfrm>
        </p:grpSpPr>
        <p:sp>
          <p:nvSpPr>
            <p:cNvPr id="59" name="Bogen 246">
              <a:extLst>
                <a:ext uri="{FF2B5EF4-FFF2-40B4-BE49-F238E27FC236}">
                  <a16:creationId xmlns:a16="http://schemas.microsoft.com/office/drawing/2014/main" id="{B9D900D1-79DD-E464-D5EE-553D6ECBCE04}"/>
                </a:ext>
              </a:extLst>
            </p:cNvPr>
            <p:cNvSpPr/>
            <p:nvPr/>
          </p:nvSpPr>
          <p:spPr>
            <a:xfrm>
              <a:off x="5564854" y="1147675"/>
              <a:ext cx="540000" cy="54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0" name="Bogen 247">
              <a:extLst>
                <a:ext uri="{FF2B5EF4-FFF2-40B4-BE49-F238E27FC236}">
                  <a16:creationId xmlns:a16="http://schemas.microsoft.com/office/drawing/2014/main" id="{32E50A33-A9EB-CA9C-89B5-5950CD60A28B}"/>
                </a:ext>
              </a:extLst>
            </p:cNvPr>
            <p:cNvSpPr/>
            <p:nvPr/>
          </p:nvSpPr>
          <p:spPr>
            <a:xfrm>
              <a:off x="5384854" y="967565"/>
              <a:ext cx="900000" cy="90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1" name="Bogen 248">
              <a:extLst>
                <a:ext uri="{FF2B5EF4-FFF2-40B4-BE49-F238E27FC236}">
                  <a16:creationId xmlns:a16="http://schemas.microsoft.com/office/drawing/2014/main" id="{DDD417B0-42D5-519A-387D-FED269EC66B0}"/>
                </a:ext>
              </a:extLst>
            </p:cNvPr>
            <p:cNvSpPr/>
            <p:nvPr/>
          </p:nvSpPr>
          <p:spPr>
            <a:xfrm>
              <a:off x="5481893" y="1057565"/>
              <a:ext cx="720000" cy="72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2" name="Bogen 249">
              <a:extLst>
                <a:ext uri="{FF2B5EF4-FFF2-40B4-BE49-F238E27FC236}">
                  <a16:creationId xmlns:a16="http://schemas.microsoft.com/office/drawing/2014/main" id="{1E50DF7A-727F-0A5F-EB18-20EB8CD086F3}"/>
                </a:ext>
              </a:extLst>
            </p:cNvPr>
            <p:cNvSpPr/>
            <p:nvPr/>
          </p:nvSpPr>
          <p:spPr>
            <a:xfrm>
              <a:off x="5654854" y="1237566"/>
              <a:ext cx="360000" cy="36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3" name="Bogen 250">
              <a:extLst>
                <a:ext uri="{FF2B5EF4-FFF2-40B4-BE49-F238E27FC236}">
                  <a16:creationId xmlns:a16="http://schemas.microsoft.com/office/drawing/2014/main" id="{02B18C8B-6A51-F773-AD30-9A287B70DA32}"/>
                </a:ext>
              </a:extLst>
            </p:cNvPr>
            <p:cNvSpPr/>
            <p:nvPr/>
          </p:nvSpPr>
          <p:spPr>
            <a:xfrm>
              <a:off x="5751893" y="1327565"/>
              <a:ext cx="180000" cy="180000"/>
            </a:xfrm>
            <a:prstGeom prst="arc">
              <a:avLst>
                <a:gd name="adj1" fmla="val 2337533"/>
                <a:gd name="adj2" fmla="val 8301871"/>
              </a:avLst>
            </a:prstGeom>
            <a:ln w="28575">
              <a:solidFill>
                <a:srgbClr val="D5E8D5"/>
              </a:solidFill>
              <a:prstDash val="sys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93729805-6574-FDE6-D25D-066C0FA5319F}"/>
              </a:ext>
            </a:extLst>
          </p:cNvPr>
          <p:cNvSpPr txBox="1"/>
          <p:nvPr/>
        </p:nvSpPr>
        <p:spPr>
          <a:xfrm>
            <a:off x="2183987" y="1857602"/>
            <a:ext cx="2070633" cy="2464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niform Linear Array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039BFEC-1E1B-58D2-E667-1170FFFF0B3C}"/>
              </a:ext>
            </a:extLst>
          </p:cNvPr>
          <p:cNvSpPr txBox="1"/>
          <p:nvPr/>
        </p:nvSpPr>
        <p:spPr>
          <a:xfrm>
            <a:off x="1994125" y="4321188"/>
            <a:ext cx="2243500" cy="2464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arget/Scatterer/</a:t>
            </a:r>
            <a:r>
              <a:rPr lang="de-DE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flector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4DAED64-A31D-233C-DF4A-C31EA95A9BDD}"/>
              </a:ext>
            </a:extLst>
          </p:cNvPr>
          <p:cNvSpPr txBox="1"/>
          <p:nvPr/>
        </p:nvSpPr>
        <p:spPr>
          <a:xfrm rot="5400000">
            <a:off x="7458517" y="3674474"/>
            <a:ext cx="1048486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Sample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7A84460-9E6A-E87C-EB55-393682F76413}"/>
              </a:ext>
            </a:extLst>
          </p:cNvPr>
          <p:cNvSpPr txBox="1"/>
          <p:nvPr/>
        </p:nvSpPr>
        <p:spPr>
          <a:xfrm rot="18281029">
            <a:off x="10208511" y="4438397"/>
            <a:ext cx="1450098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Transmitter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AE6F1F0-8C74-92BE-0E67-CBEB867A4AA1}"/>
              </a:ext>
            </a:extLst>
          </p:cNvPr>
          <p:cNvSpPr txBox="1"/>
          <p:nvPr/>
        </p:nvSpPr>
        <p:spPr>
          <a:xfrm>
            <a:off x="8706400" y="5285973"/>
            <a:ext cx="1153604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Receiver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1A1F79D3-C616-5CC0-CB53-3DADCC953C19}"/>
              </a:ext>
            </a:extLst>
          </p:cNvPr>
          <p:cNvSpPr/>
          <p:nvPr/>
        </p:nvSpPr>
        <p:spPr>
          <a:xfrm>
            <a:off x="5044225" y="5281497"/>
            <a:ext cx="2667765" cy="664156"/>
          </a:xfrm>
          <a:prstGeom prst="roundRect">
            <a:avLst/>
          </a:prstGeom>
          <a:solidFill>
            <a:srgbClr val="DAE9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0309F39E-795C-0322-BE66-50F4900D2D59}"/>
                  </a:ext>
                </a:extLst>
              </p:cNvPr>
              <p:cNvSpPr txBox="1"/>
              <p:nvPr/>
            </p:nvSpPr>
            <p:spPr>
              <a:xfrm>
                <a:off x="5304609" y="5546044"/>
                <a:ext cx="2085507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3200" b="1" i="0" smtClean="0"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de-DE" sz="3200" b="1" i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3200" b="1" i="0" smtClean="0">
                          <a:latin typeface="Cambria Math" panose="02040503050406030204" pitchFamily="18" charset="0"/>
                        </a:rPr>
                        <m:t>𝐀𝐱</m:t>
                      </m:r>
                      <m:r>
                        <a:rPr lang="de-DE" sz="3200" b="1" i="0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3200" b="1" i="0" smtClean="0">
                          <a:latin typeface="Cambria Math" panose="02040503050406030204" pitchFamily="18" charset="0"/>
                        </a:rPr>
                        <m:t>𝐧</m:t>
                      </m:r>
                    </m:oMath>
                  </m:oMathPara>
                </a14:m>
                <a:endParaRPr lang="en-US" sz="3200" b="1" dirty="0"/>
              </a:p>
            </p:txBody>
          </p:sp>
        </mc:Choice>
        <mc:Fallback xmlns=""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0309F39E-795C-0322-BE66-50F4900D2D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4609" y="5546044"/>
                <a:ext cx="2085507" cy="256480"/>
              </a:xfrm>
              <a:prstGeom prst="rect">
                <a:avLst/>
              </a:prstGeom>
              <a:blipFill>
                <a:blip r:embed="rId2"/>
                <a:stretch>
                  <a:fillRect l="-4094" t="-61905" r="-2339" b="-619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56228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13" grpId="0" animBg="1"/>
      <p:bldP spid="14" grpId="0" animBg="1"/>
      <p:bldP spid="15" grpId="0" animBg="1"/>
      <p:bldP spid="16" grpId="0" animBg="1"/>
      <p:bldP spid="9" grpId="0" animBg="1"/>
      <p:bldP spid="7" grpId="0" animBg="1"/>
      <p:bldP spid="11" grpId="0" animBg="1"/>
      <p:bldP spid="12" grpId="0" animBg="1"/>
      <p:bldP spid="25" grpId="0" animBg="1"/>
      <p:bldP spid="26" grpId="0" animBg="1"/>
      <p:bldP spid="33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64" grpId="0"/>
      <p:bldP spid="65" grpId="0"/>
      <p:bldP spid="66" grpId="0"/>
      <p:bldP spid="67" grpId="0"/>
      <p:bldP spid="68" grpId="0"/>
      <p:bldP spid="69" grpId="0" animBg="1"/>
      <p:bldP spid="7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DCB310-5995-208F-D46F-61A8415B9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AD5255-0DE5-C7D3-E468-BA1AC6CE67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C2951-09AD-4688-B783-DAE1ADDED63E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1E18D4-93EC-A891-04DD-3D54B9255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2D248A-F15B-425C-9AD2-686E27A27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B62CCB-7C49-92AC-985C-A724E6B373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tructured Compressed Sensing / Subsampl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64E7A06-6AA1-CB63-EA42-4EBB8B25979F}"/>
              </a:ext>
            </a:extLst>
          </p:cNvPr>
          <p:cNvSpPr txBox="1"/>
          <p:nvPr/>
        </p:nvSpPr>
        <p:spPr>
          <a:xfrm>
            <a:off x="479427" y="2104824"/>
            <a:ext cx="543718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subsample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?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2302BD-6841-9B58-A66B-40534A5A23E2}"/>
              </a:ext>
            </a:extLst>
          </p:cNvPr>
          <p:cNvSpPr txBox="1"/>
          <p:nvPr/>
        </p:nvSpPr>
        <p:spPr>
          <a:xfrm>
            <a:off x="479426" y="3300760"/>
            <a:ext cx="543718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ptimiz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ubsampling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?</a:t>
            </a:r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17DE684-4C48-8D2D-10AE-F72B162FF62D}"/>
              </a:ext>
            </a:extLst>
          </p:cNvPr>
          <p:cNvSpPr txBox="1"/>
          <p:nvPr/>
        </p:nvSpPr>
        <p:spPr>
          <a:xfrm>
            <a:off x="479427" y="4496696"/>
            <a:ext cx="543190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optimization</a:t>
            </a:r>
            <a:r>
              <a:rPr lang="de-DE" dirty="0"/>
              <a:t> </a:t>
            </a:r>
            <a:r>
              <a:rPr lang="de-DE" dirty="0" err="1"/>
              <a:t>targe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consider</a:t>
            </a:r>
            <a:r>
              <a:rPr lang="de-DE" dirty="0"/>
              <a:t>?</a:t>
            </a:r>
            <a:endParaRPr lang="en-US" dirty="0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262759DD-515B-6ADC-0099-161F2616DE71}"/>
              </a:ext>
            </a:extLst>
          </p:cNvPr>
          <p:cNvSpPr/>
          <p:nvPr/>
        </p:nvSpPr>
        <p:spPr>
          <a:xfrm rot="5400000">
            <a:off x="703101" y="2727800"/>
            <a:ext cx="171081" cy="255458"/>
          </a:xfrm>
          <a:prstGeom prst="triangle">
            <a:avLst/>
          </a:prstGeom>
          <a:solidFill>
            <a:srgbClr val="E1D6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01CAF68-1059-0F57-630C-FFAA085C7472}"/>
              </a:ext>
            </a:extLst>
          </p:cNvPr>
          <p:cNvSpPr txBox="1"/>
          <p:nvPr/>
        </p:nvSpPr>
        <p:spPr>
          <a:xfrm>
            <a:off x="1026902" y="2735655"/>
            <a:ext cx="4884430" cy="2464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ducing transmitters, receivers, and Fourier coefficients.</a:t>
            </a: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0DEEBE1C-CB16-0A1D-6044-F77B3FC1FF59}"/>
              </a:ext>
            </a:extLst>
          </p:cNvPr>
          <p:cNvSpPr/>
          <p:nvPr/>
        </p:nvSpPr>
        <p:spPr>
          <a:xfrm rot="5400000">
            <a:off x="703101" y="3925897"/>
            <a:ext cx="171081" cy="255458"/>
          </a:xfrm>
          <a:prstGeom prst="triangle">
            <a:avLst/>
          </a:prstGeom>
          <a:solidFill>
            <a:srgbClr val="E1D6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AD9A1DA-1FA2-0F34-F87F-FE9450848B81}"/>
              </a:ext>
            </a:extLst>
          </p:cNvPr>
          <p:cNvSpPr txBox="1"/>
          <p:nvPr/>
        </p:nvSpPr>
        <p:spPr>
          <a:xfrm>
            <a:off x="1026902" y="3931591"/>
            <a:ext cx="4884430" cy="2464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oint Deep Probabilistic Subsampling.</a:t>
            </a:r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E69DB8B8-7370-95CC-9B14-E29F282E5120}"/>
              </a:ext>
            </a:extLst>
          </p:cNvPr>
          <p:cNvSpPr/>
          <p:nvPr/>
        </p:nvSpPr>
        <p:spPr>
          <a:xfrm rot="5400000">
            <a:off x="703101" y="5119670"/>
            <a:ext cx="171081" cy="255458"/>
          </a:xfrm>
          <a:prstGeom prst="triangle">
            <a:avLst/>
          </a:prstGeom>
          <a:solidFill>
            <a:srgbClr val="E1D6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D385FDF-0AEA-95B1-9101-EB750550E69A}"/>
              </a:ext>
            </a:extLst>
          </p:cNvPr>
          <p:cNvSpPr txBox="1"/>
          <p:nvPr/>
        </p:nvSpPr>
        <p:spPr>
          <a:xfrm>
            <a:off x="1026902" y="5127525"/>
            <a:ext cx="4884430" cy="2464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gnal/Image reconstruction error. (task-based learning)</a:t>
            </a:r>
          </a:p>
        </p:txBody>
      </p:sp>
      <p:sp>
        <p:nvSpPr>
          <p:cNvPr id="48" name="Cube 47">
            <a:extLst>
              <a:ext uri="{FF2B5EF4-FFF2-40B4-BE49-F238E27FC236}">
                <a16:creationId xmlns:a16="http://schemas.microsoft.com/office/drawing/2014/main" id="{383CD3D8-054D-CE40-D8AF-6CC160AC78E4}"/>
              </a:ext>
            </a:extLst>
          </p:cNvPr>
          <p:cNvSpPr/>
          <p:nvPr/>
        </p:nvSpPr>
        <p:spPr>
          <a:xfrm>
            <a:off x="8944014" y="1952499"/>
            <a:ext cx="288000" cy="226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Cube 48">
            <a:extLst>
              <a:ext uri="{FF2B5EF4-FFF2-40B4-BE49-F238E27FC236}">
                <a16:creationId xmlns:a16="http://schemas.microsoft.com/office/drawing/2014/main" id="{CF02EF84-5FB3-6E27-49C3-6490A8E6C4FA}"/>
              </a:ext>
            </a:extLst>
          </p:cNvPr>
          <p:cNvSpPr/>
          <p:nvPr/>
        </p:nvSpPr>
        <p:spPr>
          <a:xfrm>
            <a:off x="8447133" y="1952499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Cube 49">
            <a:extLst>
              <a:ext uri="{FF2B5EF4-FFF2-40B4-BE49-F238E27FC236}">
                <a16:creationId xmlns:a16="http://schemas.microsoft.com/office/drawing/2014/main" id="{43ACC089-80E7-48AE-B0B2-826D3A3C5710}"/>
              </a:ext>
            </a:extLst>
          </p:cNvPr>
          <p:cNvSpPr/>
          <p:nvPr/>
        </p:nvSpPr>
        <p:spPr>
          <a:xfrm>
            <a:off x="9440895" y="1952499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Cube 50">
            <a:extLst>
              <a:ext uri="{FF2B5EF4-FFF2-40B4-BE49-F238E27FC236}">
                <a16:creationId xmlns:a16="http://schemas.microsoft.com/office/drawing/2014/main" id="{0C283DBD-383B-B4E1-683B-B2472CB0BAF6}"/>
              </a:ext>
            </a:extLst>
          </p:cNvPr>
          <p:cNvSpPr/>
          <p:nvPr/>
        </p:nvSpPr>
        <p:spPr>
          <a:xfrm>
            <a:off x="9937776" y="1952499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Cube 51">
            <a:extLst>
              <a:ext uri="{FF2B5EF4-FFF2-40B4-BE49-F238E27FC236}">
                <a16:creationId xmlns:a16="http://schemas.microsoft.com/office/drawing/2014/main" id="{D267E646-DD28-BBBD-CD71-3463440BE658}"/>
              </a:ext>
            </a:extLst>
          </p:cNvPr>
          <p:cNvSpPr/>
          <p:nvPr/>
        </p:nvSpPr>
        <p:spPr>
          <a:xfrm>
            <a:off x="8735133" y="2295000"/>
            <a:ext cx="288000" cy="226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Cube 52">
            <a:extLst>
              <a:ext uri="{FF2B5EF4-FFF2-40B4-BE49-F238E27FC236}">
                <a16:creationId xmlns:a16="http://schemas.microsoft.com/office/drawing/2014/main" id="{56AEB72F-AA76-441B-36E4-A4281C84FE86}"/>
              </a:ext>
            </a:extLst>
          </p:cNvPr>
          <p:cNvSpPr/>
          <p:nvPr/>
        </p:nvSpPr>
        <p:spPr>
          <a:xfrm>
            <a:off x="8238252" y="2295000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4" name="Cube 53">
            <a:extLst>
              <a:ext uri="{FF2B5EF4-FFF2-40B4-BE49-F238E27FC236}">
                <a16:creationId xmlns:a16="http://schemas.microsoft.com/office/drawing/2014/main" id="{0100EF0E-649A-2535-AD48-07D1C571A3DB}"/>
              </a:ext>
            </a:extLst>
          </p:cNvPr>
          <p:cNvSpPr/>
          <p:nvPr/>
        </p:nvSpPr>
        <p:spPr>
          <a:xfrm>
            <a:off x="9232014" y="2295000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5" name="Cube 54">
            <a:extLst>
              <a:ext uri="{FF2B5EF4-FFF2-40B4-BE49-F238E27FC236}">
                <a16:creationId xmlns:a16="http://schemas.microsoft.com/office/drawing/2014/main" id="{DBB42974-BF72-CDFF-2695-80AA511C3ECA}"/>
              </a:ext>
            </a:extLst>
          </p:cNvPr>
          <p:cNvSpPr/>
          <p:nvPr/>
        </p:nvSpPr>
        <p:spPr>
          <a:xfrm>
            <a:off x="9728895" y="2295000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6" name="Cube 55">
            <a:extLst>
              <a:ext uri="{FF2B5EF4-FFF2-40B4-BE49-F238E27FC236}">
                <a16:creationId xmlns:a16="http://schemas.microsoft.com/office/drawing/2014/main" id="{85402490-50D1-25D7-148C-F81615EB82C4}"/>
              </a:ext>
            </a:extLst>
          </p:cNvPr>
          <p:cNvSpPr/>
          <p:nvPr/>
        </p:nvSpPr>
        <p:spPr>
          <a:xfrm>
            <a:off x="8507528" y="2613933"/>
            <a:ext cx="288000" cy="226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7" name="Cube 56">
            <a:extLst>
              <a:ext uri="{FF2B5EF4-FFF2-40B4-BE49-F238E27FC236}">
                <a16:creationId xmlns:a16="http://schemas.microsoft.com/office/drawing/2014/main" id="{DB17BA0E-6267-4CC4-A8BA-D2BBAB5FDE0E}"/>
              </a:ext>
            </a:extLst>
          </p:cNvPr>
          <p:cNvSpPr/>
          <p:nvPr/>
        </p:nvSpPr>
        <p:spPr>
          <a:xfrm>
            <a:off x="8010647" y="2613933"/>
            <a:ext cx="288000" cy="226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8" name="Cube 57">
            <a:extLst>
              <a:ext uri="{FF2B5EF4-FFF2-40B4-BE49-F238E27FC236}">
                <a16:creationId xmlns:a16="http://schemas.microsoft.com/office/drawing/2014/main" id="{AE8DD763-ED93-9025-CF3F-33A839BBCD66}"/>
              </a:ext>
            </a:extLst>
          </p:cNvPr>
          <p:cNvSpPr/>
          <p:nvPr/>
        </p:nvSpPr>
        <p:spPr>
          <a:xfrm>
            <a:off x="9004409" y="2613933"/>
            <a:ext cx="288000" cy="226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9" name="Cube 58">
            <a:extLst>
              <a:ext uri="{FF2B5EF4-FFF2-40B4-BE49-F238E27FC236}">
                <a16:creationId xmlns:a16="http://schemas.microsoft.com/office/drawing/2014/main" id="{FED2D46A-AFC7-969A-9FAA-9CFD4FD54AD8}"/>
              </a:ext>
            </a:extLst>
          </p:cNvPr>
          <p:cNvSpPr/>
          <p:nvPr/>
        </p:nvSpPr>
        <p:spPr>
          <a:xfrm>
            <a:off x="9501290" y="2613933"/>
            <a:ext cx="288000" cy="226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0" name="Cube 59">
            <a:extLst>
              <a:ext uri="{FF2B5EF4-FFF2-40B4-BE49-F238E27FC236}">
                <a16:creationId xmlns:a16="http://schemas.microsoft.com/office/drawing/2014/main" id="{2C5CA626-5BA0-2CB5-13A4-79A2E9509153}"/>
              </a:ext>
            </a:extLst>
          </p:cNvPr>
          <p:cNvSpPr/>
          <p:nvPr/>
        </p:nvSpPr>
        <p:spPr>
          <a:xfrm>
            <a:off x="8298647" y="2956434"/>
            <a:ext cx="288000" cy="226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1" name="Cube 60">
            <a:extLst>
              <a:ext uri="{FF2B5EF4-FFF2-40B4-BE49-F238E27FC236}">
                <a16:creationId xmlns:a16="http://schemas.microsoft.com/office/drawing/2014/main" id="{AB948B4E-B66A-D4D3-A886-A92F534679EB}"/>
              </a:ext>
            </a:extLst>
          </p:cNvPr>
          <p:cNvSpPr/>
          <p:nvPr/>
        </p:nvSpPr>
        <p:spPr>
          <a:xfrm>
            <a:off x="7801766" y="2956434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Cube 61">
            <a:extLst>
              <a:ext uri="{FF2B5EF4-FFF2-40B4-BE49-F238E27FC236}">
                <a16:creationId xmlns:a16="http://schemas.microsoft.com/office/drawing/2014/main" id="{1574DDEF-80CC-35A5-4DFF-A35BA90FE9FF}"/>
              </a:ext>
            </a:extLst>
          </p:cNvPr>
          <p:cNvSpPr/>
          <p:nvPr/>
        </p:nvSpPr>
        <p:spPr>
          <a:xfrm>
            <a:off x="8795528" y="2956434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Cube 62">
            <a:extLst>
              <a:ext uri="{FF2B5EF4-FFF2-40B4-BE49-F238E27FC236}">
                <a16:creationId xmlns:a16="http://schemas.microsoft.com/office/drawing/2014/main" id="{2AF3FA25-31C3-FB79-4C6B-3994B5849709}"/>
              </a:ext>
            </a:extLst>
          </p:cNvPr>
          <p:cNvSpPr/>
          <p:nvPr/>
        </p:nvSpPr>
        <p:spPr>
          <a:xfrm>
            <a:off x="9292409" y="2956434"/>
            <a:ext cx="288000" cy="2268000"/>
          </a:xfrm>
          <a:prstGeom prst="cube">
            <a:avLst/>
          </a:prstGeom>
          <a:solidFill>
            <a:srgbClr val="D5E8D5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0B38A44-2D5F-3A16-3389-BDC99534D122}"/>
              </a:ext>
            </a:extLst>
          </p:cNvPr>
          <p:cNvSpPr txBox="1"/>
          <p:nvPr/>
        </p:nvSpPr>
        <p:spPr>
          <a:xfrm rot="5400000">
            <a:off x="6807658" y="3823208"/>
            <a:ext cx="1048486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Sample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5D08734-1F8E-A15B-1857-5DA6EF76ED13}"/>
              </a:ext>
            </a:extLst>
          </p:cNvPr>
          <p:cNvSpPr txBox="1"/>
          <p:nvPr/>
        </p:nvSpPr>
        <p:spPr>
          <a:xfrm rot="18281029">
            <a:off x="9557652" y="4587131"/>
            <a:ext cx="1450098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Transmitter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F574861-1F07-5A57-F674-7DD5BFA371FF}"/>
              </a:ext>
            </a:extLst>
          </p:cNvPr>
          <p:cNvSpPr txBox="1"/>
          <p:nvPr/>
        </p:nvSpPr>
        <p:spPr>
          <a:xfrm>
            <a:off x="8055541" y="5434707"/>
            <a:ext cx="1153604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Receiver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7" name="Cube 66">
            <a:extLst>
              <a:ext uri="{FF2B5EF4-FFF2-40B4-BE49-F238E27FC236}">
                <a16:creationId xmlns:a16="http://schemas.microsoft.com/office/drawing/2014/main" id="{D7F47556-6977-B611-9779-95CB4A8F39B7}"/>
              </a:ext>
            </a:extLst>
          </p:cNvPr>
          <p:cNvSpPr/>
          <p:nvPr/>
        </p:nvSpPr>
        <p:spPr>
          <a:xfrm>
            <a:off x="9292409" y="3266740"/>
            <a:ext cx="288000" cy="28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8" name="Cube 67">
            <a:extLst>
              <a:ext uri="{FF2B5EF4-FFF2-40B4-BE49-F238E27FC236}">
                <a16:creationId xmlns:a16="http://schemas.microsoft.com/office/drawing/2014/main" id="{1CB66BCE-1AA4-219A-A2F5-F49A3671C25D}"/>
              </a:ext>
            </a:extLst>
          </p:cNvPr>
          <p:cNvSpPr/>
          <p:nvPr/>
        </p:nvSpPr>
        <p:spPr>
          <a:xfrm>
            <a:off x="9300988" y="3905892"/>
            <a:ext cx="288000" cy="28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9" name="Cube 68">
            <a:extLst>
              <a:ext uri="{FF2B5EF4-FFF2-40B4-BE49-F238E27FC236}">
                <a16:creationId xmlns:a16="http://schemas.microsoft.com/office/drawing/2014/main" id="{FCFD586E-D5E4-4B17-B18F-C8AAF5159DD4}"/>
              </a:ext>
            </a:extLst>
          </p:cNvPr>
          <p:cNvSpPr/>
          <p:nvPr/>
        </p:nvSpPr>
        <p:spPr>
          <a:xfrm>
            <a:off x="9292409" y="4567326"/>
            <a:ext cx="288000" cy="288000"/>
          </a:xfrm>
          <a:prstGeom prst="cub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533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22" grpId="0" animBg="1"/>
      <p:bldP spid="23" grpId="0"/>
      <p:bldP spid="24" grpId="0" animBg="1"/>
      <p:bldP spid="25" grpId="0"/>
      <p:bldP spid="26" grpId="0" animBg="1"/>
      <p:bldP spid="27" grpId="0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/>
      <p:bldP spid="65" grpId="0"/>
      <p:bldP spid="66" grpId="0"/>
      <p:bldP spid="67" grpId="0" animBg="1"/>
      <p:bldP spid="68" grpId="0" animBg="1"/>
      <p:bldP spid="6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FA4406A5-C242-C36A-466C-95512F321C40}"/>
              </a:ext>
            </a:extLst>
          </p:cNvPr>
          <p:cNvSpPr/>
          <p:nvPr/>
        </p:nvSpPr>
        <p:spPr>
          <a:xfrm>
            <a:off x="3485585" y="1801377"/>
            <a:ext cx="468000" cy="46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7F7D32-B328-B372-A2BD-7A13C805F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uctured Subsampling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58DB53-79D9-88E7-A6D1-31F7BF0ED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A52298-A939-9255-E0A3-3FA43EAA4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59E178-E18F-9D1A-0095-E832A3C20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588EA2C-7450-2420-7709-38360F2D94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Kronecker product connects selection matr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908167-0618-2B5B-7381-D5A89D0C080D}"/>
              </a:ext>
            </a:extLst>
          </p:cNvPr>
          <p:cNvSpPr txBox="1"/>
          <p:nvPr/>
        </p:nvSpPr>
        <p:spPr>
          <a:xfrm>
            <a:off x="867210" y="3833442"/>
            <a:ext cx="2706227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ow-wise one-hot matrix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DA23AB-4AF9-EE03-68EF-434C2558E971}"/>
              </a:ext>
            </a:extLst>
          </p:cNvPr>
          <p:cNvGrpSpPr/>
          <p:nvPr/>
        </p:nvGrpSpPr>
        <p:grpSpPr>
          <a:xfrm>
            <a:off x="990120" y="4199631"/>
            <a:ext cx="2235856" cy="1880048"/>
            <a:chOff x="900904" y="3258046"/>
            <a:chExt cx="2235856" cy="188004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AAC1F1C-C768-1350-90D2-4E0BEBF23925}"/>
                </a:ext>
              </a:extLst>
            </p:cNvPr>
            <p:cNvSpPr/>
            <p:nvPr/>
          </p:nvSpPr>
          <p:spPr>
            <a:xfrm>
              <a:off x="900904" y="3274987"/>
              <a:ext cx="2235856" cy="1811102"/>
            </a:xfrm>
            <a:prstGeom prst="rect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A748435-1242-2046-3016-9ED6C86D3F49}"/>
                </a:ext>
              </a:extLst>
            </p:cNvPr>
            <p:cNvSpPr/>
            <p:nvPr/>
          </p:nvSpPr>
          <p:spPr>
            <a:xfrm>
              <a:off x="1040789" y="3258046"/>
              <a:ext cx="1964485" cy="188004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3A5329D-8C4F-4944-DDC7-07C03511B7AA}"/>
                  </a:ext>
                </a:extLst>
              </p:cNvPr>
              <p:cNvSpPr txBox="1"/>
              <p:nvPr/>
            </p:nvSpPr>
            <p:spPr>
              <a:xfrm>
                <a:off x="1094765" y="438003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3A5329D-8C4F-4944-DDC7-07C03511B7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765" y="4380038"/>
                <a:ext cx="200376" cy="256480"/>
              </a:xfrm>
              <a:prstGeom prst="rect">
                <a:avLst/>
              </a:prstGeom>
              <a:blipFill>
                <a:blip r:embed="rId2"/>
                <a:stretch>
                  <a:fillRect l="-31250" t="-11905" r="-31250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65589D2-9D91-34A9-F32D-479018F30CD3}"/>
                  </a:ext>
                </a:extLst>
              </p:cNvPr>
              <p:cNvSpPr txBox="1"/>
              <p:nvPr/>
            </p:nvSpPr>
            <p:spPr>
              <a:xfrm>
                <a:off x="1402716" y="438003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65589D2-9D91-34A9-F32D-479018F30C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2716" y="4380038"/>
                <a:ext cx="200376" cy="256480"/>
              </a:xfrm>
              <a:prstGeom prst="rect">
                <a:avLst/>
              </a:prstGeom>
              <a:blipFill>
                <a:blip r:embed="rId3"/>
                <a:stretch>
                  <a:fillRect l="-27273" t="-11905" r="-3030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23AA26E-9420-2B8E-A319-EE69EFD06CCF}"/>
                  </a:ext>
                </a:extLst>
              </p:cNvPr>
              <p:cNvSpPr txBox="1"/>
              <p:nvPr/>
            </p:nvSpPr>
            <p:spPr>
              <a:xfrm>
                <a:off x="1710667" y="438003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23AA26E-9420-2B8E-A319-EE69EFD06C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0667" y="4380038"/>
                <a:ext cx="200376" cy="256480"/>
              </a:xfrm>
              <a:prstGeom prst="rect">
                <a:avLst/>
              </a:prstGeom>
              <a:blipFill>
                <a:blip r:embed="rId4"/>
                <a:stretch>
                  <a:fillRect l="-31250" t="-11905" r="-31250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698A641-73FD-10F3-E822-6637FD91B0BF}"/>
                  </a:ext>
                </a:extLst>
              </p:cNvPr>
              <p:cNvSpPr txBox="1"/>
              <p:nvPr/>
            </p:nvSpPr>
            <p:spPr>
              <a:xfrm>
                <a:off x="2018618" y="438003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698A641-73FD-10F3-E822-6637FD91B0B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8618" y="4380038"/>
                <a:ext cx="200376" cy="256480"/>
              </a:xfrm>
              <a:prstGeom prst="rect">
                <a:avLst/>
              </a:prstGeom>
              <a:blipFill>
                <a:blip r:embed="rId5"/>
                <a:stretch>
                  <a:fillRect l="-27273" t="-11905" r="-3030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4906BF7-A88E-7195-8F46-6084331E52CC}"/>
                  </a:ext>
                </a:extLst>
              </p:cNvPr>
              <p:cNvSpPr txBox="1"/>
              <p:nvPr/>
            </p:nvSpPr>
            <p:spPr>
              <a:xfrm>
                <a:off x="2326569" y="438003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4906BF7-A88E-7195-8F46-6084331E52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6569" y="4380038"/>
                <a:ext cx="200376" cy="256480"/>
              </a:xfrm>
              <a:prstGeom prst="rect">
                <a:avLst/>
              </a:prstGeom>
              <a:blipFill>
                <a:blip r:embed="rId6"/>
                <a:stretch>
                  <a:fillRect l="-30303" t="-11905" r="-2727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C5F5FD3-F479-C1DC-05B3-531D62212771}"/>
                  </a:ext>
                </a:extLst>
              </p:cNvPr>
              <p:cNvSpPr txBox="1"/>
              <p:nvPr/>
            </p:nvSpPr>
            <p:spPr>
              <a:xfrm>
                <a:off x="2634520" y="438003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C5F5FD3-F479-C1DC-05B3-531D622127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4520" y="4380038"/>
                <a:ext cx="200376" cy="256480"/>
              </a:xfrm>
              <a:prstGeom prst="rect">
                <a:avLst/>
              </a:prstGeom>
              <a:blipFill>
                <a:blip r:embed="rId7"/>
                <a:stretch>
                  <a:fillRect l="-27273" t="-11905" r="-3030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7F9E1EE-9D1B-3DAD-3A72-3B05CD4415C6}"/>
                  </a:ext>
                </a:extLst>
              </p:cNvPr>
              <p:cNvSpPr txBox="1"/>
              <p:nvPr/>
            </p:nvSpPr>
            <p:spPr>
              <a:xfrm>
                <a:off x="2942471" y="438003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7F9E1EE-9D1B-3DAD-3A72-3B05CD4415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2471" y="4380038"/>
                <a:ext cx="200376" cy="256480"/>
              </a:xfrm>
              <a:prstGeom prst="rect">
                <a:avLst/>
              </a:prstGeom>
              <a:blipFill>
                <a:blip r:embed="rId8"/>
                <a:stretch>
                  <a:fillRect l="-30303" t="-11905" r="-2727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189136E-5BBA-BD37-60B7-81AAE0506473}"/>
                  </a:ext>
                </a:extLst>
              </p:cNvPr>
              <p:cNvSpPr txBox="1"/>
              <p:nvPr/>
            </p:nvSpPr>
            <p:spPr>
              <a:xfrm>
                <a:off x="1094765" y="479407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189136E-5BBA-BD37-60B7-81AAE05064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765" y="4794078"/>
                <a:ext cx="200376" cy="256480"/>
              </a:xfrm>
              <a:prstGeom prst="rect">
                <a:avLst/>
              </a:prstGeom>
              <a:blipFill>
                <a:blip r:embed="rId9"/>
                <a:stretch>
                  <a:fillRect l="-31250" t="-9302" r="-31250" b="-69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E6441B2C-EB02-F189-4566-7FA591A42C60}"/>
                  </a:ext>
                </a:extLst>
              </p:cNvPr>
              <p:cNvSpPr txBox="1"/>
              <p:nvPr/>
            </p:nvSpPr>
            <p:spPr>
              <a:xfrm>
                <a:off x="1402716" y="4797646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E6441B2C-EB02-F189-4566-7FA591A42C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2716" y="4797646"/>
                <a:ext cx="200376" cy="256480"/>
              </a:xfrm>
              <a:prstGeom prst="rect">
                <a:avLst/>
              </a:prstGeom>
              <a:blipFill>
                <a:blip r:embed="rId10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7F0FC80-61D8-2CC1-2AF8-3498F35EB8C0}"/>
                  </a:ext>
                </a:extLst>
              </p:cNvPr>
              <p:cNvSpPr txBox="1"/>
              <p:nvPr/>
            </p:nvSpPr>
            <p:spPr>
              <a:xfrm>
                <a:off x="1710667" y="4797646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7F0FC80-61D8-2CC1-2AF8-3498F35EB8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0667" y="4797646"/>
                <a:ext cx="200376" cy="256480"/>
              </a:xfrm>
              <a:prstGeom prst="rect">
                <a:avLst/>
              </a:prstGeom>
              <a:blipFill>
                <a:blip r:embed="rId11"/>
                <a:stretch>
                  <a:fillRect l="-31250" t="-9524" r="-31250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DE6ADAC-D808-2CF9-CF57-D1DEBDB4A983}"/>
                  </a:ext>
                </a:extLst>
              </p:cNvPr>
              <p:cNvSpPr txBox="1"/>
              <p:nvPr/>
            </p:nvSpPr>
            <p:spPr>
              <a:xfrm>
                <a:off x="2018618" y="4797646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DE6ADAC-D808-2CF9-CF57-D1DEBDB4A9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8618" y="4797646"/>
                <a:ext cx="200376" cy="256480"/>
              </a:xfrm>
              <a:prstGeom prst="rect">
                <a:avLst/>
              </a:prstGeom>
              <a:blipFill>
                <a:blip r:embed="rId12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E88C6B0-FD7C-0CDC-2F1D-3231D1B20F2E}"/>
                  </a:ext>
                </a:extLst>
              </p:cNvPr>
              <p:cNvSpPr txBox="1"/>
              <p:nvPr/>
            </p:nvSpPr>
            <p:spPr>
              <a:xfrm>
                <a:off x="2326569" y="4797646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7E88C6B0-FD7C-0CDC-2F1D-3231D1B20F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6569" y="4797646"/>
                <a:ext cx="200376" cy="256480"/>
              </a:xfrm>
              <a:prstGeom prst="rect">
                <a:avLst/>
              </a:prstGeom>
              <a:blipFill>
                <a:blip r:embed="rId13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B3FBBDF1-FA16-4B4C-9B53-8EB02BECDB56}"/>
                  </a:ext>
                </a:extLst>
              </p:cNvPr>
              <p:cNvSpPr txBox="1"/>
              <p:nvPr/>
            </p:nvSpPr>
            <p:spPr>
              <a:xfrm>
                <a:off x="2634520" y="4797646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B3FBBDF1-FA16-4B4C-9B53-8EB02BECDB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4520" y="4797646"/>
                <a:ext cx="200376" cy="256480"/>
              </a:xfrm>
              <a:prstGeom prst="rect">
                <a:avLst/>
              </a:prstGeom>
              <a:blipFill>
                <a:blip r:embed="rId14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04FC75A1-9FA9-FF84-437E-8C927CE1A51D}"/>
                  </a:ext>
                </a:extLst>
              </p:cNvPr>
              <p:cNvSpPr txBox="1"/>
              <p:nvPr/>
            </p:nvSpPr>
            <p:spPr>
              <a:xfrm>
                <a:off x="2942471" y="4797646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04FC75A1-9FA9-FF84-437E-8C927CE1A5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2471" y="4797646"/>
                <a:ext cx="200376" cy="256480"/>
              </a:xfrm>
              <a:prstGeom prst="rect">
                <a:avLst/>
              </a:prstGeom>
              <a:blipFill>
                <a:blip r:embed="rId15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C589960F-5977-C0D4-2B96-01BB146EFECE}"/>
                  </a:ext>
                </a:extLst>
              </p:cNvPr>
              <p:cNvSpPr txBox="1"/>
              <p:nvPr/>
            </p:nvSpPr>
            <p:spPr>
              <a:xfrm>
                <a:off x="1094765" y="520811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C589960F-5977-C0D4-2B96-01BB146EFE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765" y="5208118"/>
                <a:ext cx="200376" cy="256480"/>
              </a:xfrm>
              <a:prstGeom prst="rect">
                <a:avLst/>
              </a:prstGeom>
              <a:blipFill>
                <a:blip r:embed="rId16"/>
                <a:stretch>
                  <a:fillRect l="-31250" t="-9524" r="-31250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E03A9375-6C91-7C19-4971-5D7D216E9DF2}"/>
                  </a:ext>
                </a:extLst>
              </p:cNvPr>
              <p:cNvSpPr txBox="1"/>
              <p:nvPr/>
            </p:nvSpPr>
            <p:spPr>
              <a:xfrm>
                <a:off x="1402716" y="520811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E03A9375-6C91-7C19-4971-5D7D216E9D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2716" y="5208118"/>
                <a:ext cx="200376" cy="256480"/>
              </a:xfrm>
              <a:prstGeom prst="rect">
                <a:avLst/>
              </a:prstGeom>
              <a:blipFill>
                <a:blip r:embed="rId17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E7340F-FF61-E82D-5F60-D5041928A5B5}"/>
                  </a:ext>
                </a:extLst>
              </p:cNvPr>
              <p:cNvSpPr txBox="1"/>
              <p:nvPr/>
            </p:nvSpPr>
            <p:spPr>
              <a:xfrm>
                <a:off x="1710667" y="520811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7E7340F-FF61-E82D-5F60-D5041928A5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0667" y="5208118"/>
                <a:ext cx="200376" cy="256480"/>
              </a:xfrm>
              <a:prstGeom prst="rect">
                <a:avLst/>
              </a:prstGeom>
              <a:blipFill>
                <a:blip r:embed="rId18"/>
                <a:stretch>
                  <a:fillRect l="-31250" t="-9524" r="-31250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27A5B91-B52B-27CF-9895-3C3300F379EB}"/>
                  </a:ext>
                </a:extLst>
              </p:cNvPr>
              <p:cNvSpPr txBox="1"/>
              <p:nvPr/>
            </p:nvSpPr>
            <p:spPr>
              <a:xfrm>
                <a:off x="2018618" y="520811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27A5B91-B52B-27CF-9895-3C3300F379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8618" y="5208118"/>
                <a:ext cx="200376" cy="256480"/>
              </a:xfrm>
              <a:prstGeom prst="rect">
                <a:avLst/>
              </a:prstGeom>
              <a:blipFill>
                <a:blip r:embed="rId19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0323728-9327-5DAB-2ACB-413CED9AFF46}"/>
                  </a:ext>
                </a:extLst>
              </p:cNvPr>
              <p:cNvSpPr txBox="1"/>
              <p:nvPr/>
            </p:nvSpPr>
            <p:spPr>
              <a:xfrm>
                <a:off x="2326569" y="520811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0323728-9327-5DAB-2ACB-413CED9AFF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6569" y="5208118"/>
                <a:ext cx="200376" cy="256480"/>
              </a:xfrm>
              <a:prstGeom prst="rect">
                <a:avLst/>
              </a:prstGeom>
              <a:blipFill>
                <a:blip r:embed="rId20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F04DADE-3580-8AFE-A358-59FF45515493}"/>
                  </a:ext>
                </a:extLst>
              </p:cNvPr>
              <p:cNvSpPr txBox="1"/>
              <p:nvPr/>
            </p:nvSpPr>
            <p:spPr>
              <a:xfrm>
                <a:off x="2634520" y="520811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F04DADE-3580-8AFE-A358-59FF455154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4520" y="5208118"/>
                <a:ext cx="200376" cy="256480"/>
              </a:xfrm>
              <a:prstGeom prst="rect">
                <a:avLst/>
              </a:prstGeom>
              <a:blipFill>
                <a:blip r:embed="rId21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A7F71B33-1232-62E0-2131-0A5805193DC1}"/>
                  </a:ext>
                </a:extLst>
              </p:cNvPr>
              <p:cNvSpPr txBox="1"/>
              <p:nvPr/>
            </p:nvSpPr>
            <p:spPr>
              <a:xfrm>
                <a:off x="2942471" y="520811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A7F71B33-1232-62E0-2131-0A5805193D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2471" y="5208118"/>
                <a:ext cx="200376" cy="256480"/>
              </a:xfrm>
              <a:prstGeom prst="rect">
                <a:avLst/>
              </a:prstGeom>
              <a:blipFill>
                <a:blip r:embed="rId22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6528838C-8759-22FC-9114-D31009A51EBF}"/>
                  </a:ext>
                </a:extLst>
              </p:cNvPr>
              <p:cNvSpPr txBox="1"/>
              <p:nvPr/>
            </p:nvSpPr>
            <p:spPr>
              <a:xfrm>
                <a:off x="1094765" y="5622159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6528838C-8759-22FC-9114-D31009A51EB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4765" y="5622159"/>
                <a:ext cx="200376" cy="256480"/>
              </a:xfrm>
              <a:prstGeom prst="rect">
                <a:avLst/>
              </a:prstGeom>
              <a:blipFill>
                <a:blip r:embed="rId23"/>
                <a:stretch>
                  <a:fillRect l="-31250" t="-9524" r="-31250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8CB85CB0-175B-1DE4-9E8E-6AF5317B1310}"/>
                  </a:ext>
                </a:extLst>
              </p:cNvPr>
              <p:cNvSpPr txBox="1"/>
              <p:nvPr/>
            </p:nvSpPr>
            <p:spPr>
              <a:xfrm>
                <a:off x="1402716" y="5622159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8CB85CB0-175B-1DE4-9E8E-6AF5317B13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2716" y="5622159"/>
                <a:ext cx="200376" cy="256480"/>
              </a:xfrm>
              <a:prstGeom prst="rect">
                <a:avLst/>
              </a:prstGeom>
              <a:blipFill>
                <a:blip r:embed="rId24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9DD2643B-0601-1DA5-7CA8-CED723E966C6}"/>
                  </a:ext>
                </a:extLst>
              </p:cNvPr>
              <p:cNvSpPr txBox="1"/>
              <p:nvPr/>
            </p:nvSpPr>
            <p:spPr>
              <a:xfrm>
                <a:off x="1710667" y="5622159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9DD2643B-0601-1DA5-7CA8-CED723E966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0667" y="5622159"/>
                <a:ext cx="200376" cy="256480"/>
              </a:xfrm>
              <a:prstGeom prst="rect">
                <a:avLst/>
              </a:prstGeom>
              <a:blipFill>
                <a:blip r:embed="rId25"/>
                <a:stretch>
                  <a:fillRect l="-31250" t="-9524" r="-31250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3350E747-1656-E2E6-B9A5-92CD20F651E2}"/>
                  </a:ext>
                </a:extLst>
              </p:cNvPr>
              <p:cNvSpPr txBox="1"/>
              <p:nvPr/>
            </p:nvSpPr>
            <p:spPr>
              <a:xfrm>
                <a:off x="2018618" y="5622159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3350E747-1656-E2E6-B9A5-92CD20F651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18618" y="5622159"/>
                <a:ext cx="200376" cy="256480"/>
              </a:xfrm>
              <a:prstGeom prst="rect">
                <a:avLst/>
              </a:prstGeom>
              <a:blipFill>
                <a:blip r:embed="rId26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E882FD13-763C-6C06-256D-D705767ED487}"/>
                  </a:ext>
                </a:extLst>
              </p:cNvPr>
              <p:cNvSpPr txBox="1"/>
              <p:nvPr/>
            </p:nvSpPr>
            <p:spPr>
              <a:xfrm>
                <a:off x="2326569" y="5622159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E882FD13-763C-6C06-256D-D705767ED4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6569" y="5622159"/>
                <a:ext cx="200376" cy="256480"/>
              </a:xfrm>
              <a:prstGeom prst="rect">
                <a:avLst/>
              </a:prstGeom>
              <a:blipFill>
                <a:blip r:embed="rId27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F6A0A2EA-90DC-B05A-731D-AF4217BE855F}"/>
                  </a:ext>
                </a:extLst>
              </p:cNvPr>
              <p:cNvSpPr txBox="1"/>
              <p:nvPr/>
            </p:nvSpPr>
            <p:spPr>
              <a:xfrm>
                <a:off x="2634520" y="5622159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F6A0A2EA-90DC-B05A-731D-AF4217BE855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34520" y="5622159"/>
                <a:ext cx="200376" cy="256480"/>
              </a:xfrm>
              <a:prstGeom prst="rect">
                <a:avLst/>
              </a:prstGeom>
              <a:blipFill>
                <a:blip r:embed="rId28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86870ECA-5C9C-C3C0-EDB1-F360664C42AF}"/>
                  </a:ext>
                </a:extLst>
              </p:cNvPr>
              <p:cNvSpPr txBox="1"/>
              <p:nvPr/>
            </p:nvSpPr>
            <p:spPr>
              <a:xfrm>
                <a:off x="2942471" y="5622159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86870ECA-5C9C-C3C0-EDB1-F360664C42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2471" y="5622159"/>
                <a:ext cx="200376" cy="256480"/>
              </a:xfrm>
              <a:prstGeom prst="rect">
                <a:avLst/>
              </a:prstGeom>
              <a:blipFill>
                <a:blip r:embed="rId29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TextBox 40">
            <a:extLst>
              <a:ext uri="{FF2B5EF4-FFF2-40B4-BE49-F238E27FC236}">
                <a16:creationId xmlns:a16="http://schemas.microsoft.com/office/drawing/2014/main" id="{3417566E-ED68-2ACE-E1DA-4FF7CF979D3B}"/>
              </a:ext>
            </a:extLst>
          </p:cNvPr>
          <p:cNvSpPr txBox="1"/>
          <p:nvPr/>
        </p:nvSpPr>
        <p:spPr>
          <a:xfrm>
            <a:off x="2422696" y="2534870"/>
            <a:ext cx="696124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/>
              <a:t>Select</a:t>
            </a:r>
            <a:endParaRPr lang="en-US" sz="2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E23FF9AE-D747-6BE5-2E58-DCCBFAE3F80A}"/>
                  </a:ext>
                </a:extLst>
              </p:cNvPr>
              <p:cNvSpPr txBox="1"/>
              <p:nvPr/>
            </p:nvSpPr>
            <p:spPr>
              <a:xfrm>
                <a:off x="3522992" y="1909810"/>
                <a:ext cx="393185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latin typeface="Cambria Math" panose="02040503050406030204" pitchFamily="18" charset="0"/>
                            </a:rPr>
                            <m:t>T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E23FF9AE-D747-6BE5-2E58-DCCBFAE3F8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2992" y="1909810"/>
                <a:ext cx="393185" cy="256480"/>
              </a:xfrm>
              <a:prstGeom prst="rect">
                <a:avLst/>
              </a:prstGeom>
              <a:blipFill>
                <a:blip r:embed="rId30"/>
                <a:stretch>
                  <a:fillRect l="-15625" t="-9524" r="-9375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7E676FA4-9646-BD1D-DCBB-FA5BE04AEFE4}"/>
              </a:ext>
            </a:extLst>
          </p:cNvPr>
          <p:cNvSpPr/>
          <p:nvPr/>
        </p:nvSpPr>
        <p:spPr>
          <a:xfrm>
            <a:off x="3485585" y="2397434"/>
            <a:ext cx="468000" cy="468000"/>
          </a:xfrm>
          <a:prstGeom prst="roundRect">
            <a:avLst/>
          </a:prstGeom>
          <a:solidFill>
            <a:srgbClr val="E1D6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4BA0CE4-6921-B457-61F8-4E1E1D4AA6B4}"/>
                  </a:ext>
                </a:extLst>
              </p:cNvPr>
              <p:cNvSpPr txBox="1"/>
              <p:nvPr/>
            </p:nvSpPr>
            <p:spPr>
              <a:xfrm>
                <a:off x="3522992" y="2505867"/>
                <a:ext cx="399597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latin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4BA0CE4-6921-B457-61F8-4E1E1D4AA6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2992" y="2505867"/>
                <a:ext cx="399597" cy="256480"/>
              </a:xfrm>
              <a:prstGeom prst="rect">
                <a:avLst/>
              </a:prstGeom>
              <a:blipFill>
                <a:blip r:embed="rId31"/>
                <a:stretch>
                  <a:fillRect l="-15385" t="-9524" r="-9231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C303D864-24A0-F173-6154-409D45D11294}"/>
              </a:ext>
            </a:extLst>
          </p:cNvPr>
          <p:cNvSpPr/>
          <p:nvPr/>
        </p:nvSpPr>
        <p:spPr>
          <a:xfrm>
            <a:off x="3485585" y="2993491"/>
            <a:ext cx="468000" cy="468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F4330CDC-2488-EF1E-5C9F-AF9B2FFD48DC}"/>
                  </a:ext>
                </a:extLst>
              </p:cNvPr>
              <p:cNvSpPr txBox="1"/>
              <p:nvPr/>
            </p:nvSpPr>
            <p:spPr>
              <a:xfrm>
                <a:off x="3522992" y="3101924"/>
                <a:ext cx="381963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latin typeface="Cambria Math" panose="02040503050406030204" pitchFamily="18" charset="0"/>
                            </a:rPr>
                            <m:t>F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F4330CDC-2488-EF1E-5C9F-AF9B2FFD48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2992" y="3101924"/>
                <a:ext cx="381963" cy="256480"/>
              </a:xfrm>
              <a:prstGeom prst="rect">
                <a:avLst/>
              </a:prstGeom>
              <a:blipFill>
                <a:blip r:embed="rId32"/>
                <a:stretch>
                  <a:fillRect l="-15873" t="-11905" r="-793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TextBox 47">
            <a:extLst>
              <a:ext uri="{FF2B5EF4-FFF2-40B4-BE49-F238E27FC236}">
                <a16:creationId xmlns:a16="http://schemas.microsoft.com/office/drawing/2014/main" id="{8104A8A4-CE55-0B8E-ECA3-F3798D38FDAE}"/>
              </a:ext>
            </a:extLst>
          </p:cNvPr>
          <p:cNvSpPr txBox="1"/>
          <p:nvPr/>
        </p:nvSpPr>
        <p:spPr>
          <a:xfrm>
            <a:off x="4306030" y="1913513"/>
            <a:ext cx="573244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/>
              <a:t>from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EC2F9F7-E835-7565-AD8D-84F16CC1E468}"/>
              </a:ext>
            </a:extLst>
          </p:cNvPr>
          <p:cNvSpPr txBox="1"/>
          <p:nvPr/>
        </p:nvSpPr>
        <p:spPr>
          <a:xfrm>
            <a:off x="5957924" y="1909810"/>
            <a:ext cx="1369655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/>
              <a:t>transmitters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EEB8BE73-9813-5154-4D43-07F1C9BB8DA9}"/>
              </a:ext>
            </a:extLst>
          </p:cNvPr>
          <p:cNvSpPr/>
          <p:nvPr/>
        </p:nvSpPr>
        <p:spPr>
          <a:xfrm>
            <a:off x="5184599" y="1801377"/>
            <a:ext cx="468000" cy="468000"/>
          </a:xfrm>
          <a:prstGeom prst="round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CA48D61-5A8B-3327-0B65-B774A383E36C}"/>
                  </a:ext>
                </a:extLst>
              </p:cNvPr>
              <p:cNvSpPr txBox="1"/>
              <p:nvPr/>
            </p:nvSpPr>
            <p:spPr>
              <a:xfrm>
                <a:off x="5222006" y="1909810"/>
                <a:ext cx="356444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latin typeface="Cambria Math" panose="02040503050406030204" pitchFamily="18" charset="0"/>
                            </a:rPr>
                            <m:t>T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CA48D61-5A8B-3327-0B65-B774A383E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22006" y="1909810"/>
                <a:ext cx="356444" cy="256480"/>
              </a:xfrm>
              <a:prstGeom prst="rect">
                <a:avLst/>
              </a:prstGeom>
              <a:blipFill>
                <a:blip r:embed="rId33"/>
                <a:stretch>
                  <a:fillRect l="-17241" t="-9524" r="-10345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TextBox 51">
            <a:extLst>
              <a:ext uri="{FF2B5EF4-FFF2-40B4-BE49-F238E27FC236}">
                <a16:creationId xmlns:a16="http://schemas.microsoft.com/office/drawing/2014/main" id="{9FCD755F-ADF7-0B5D-3117-B631574866F8}"/>
              </a:ext>
            </a:extLst>
          </p:cNvPr>
          <p:cNvSpPr txBox="1"/>
          <p:nvPr/>
        </p:nvSpPr>
        <p:spPr>
          <a:xfrm>
            <a:off x="4322099" y="2509570"/>
            <a:ext cx="573244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/>
              <a:t>from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AE270F9-03FD-2D0B-6C29-C2C956058606}"/>
              </a:ext>
            </a:extLst>
          </p:cNvPr>
          <p:cNvSpPr txBox="1"/>
          <p:nvPr/>
        </p:nvSpPr>
        <p:spPr>
          <a:xfrm>
            <a:off x="5973993" y="2505867"/>
            <a:ext cx="1369655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/>
              <a:t>receivers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5CC22F91-0115-BFAF-702A-824C117A5385}"/>
              </a:ext>
            </a:extLst>
          </p:cNvPr>
          <p:cNvSpPr/>
          <p:nvPr/>
        </p:nvSpPr>
        <p:spPr>
          <a:xfrm>
            <a:off x="5200668" y="2397434"/>
            <a:ext cx="468000" cy="4680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4E55037D-419D-84C1-8A73-3E76257AD515}"/>
                  </a:ext>
                </a:extLst>
              </p:cNvPr>
              <p:cNvSpPr txBox="1"/>
              <p:nvPr/>
            </p:nvSpPr>
            <p:spPr>
              <a:xfrm>
                <a:off x="5238075" y="2505867"/>
                <a:ext cx="362855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4E55037D-419D-84C1-8A73-3E76257AD5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8075" y="2505867"/>
                <a:ext cx="362855" cy="256480"/>
              </a:xfrm>
              <a:prstGeom prst="rect">
                <a:avLst/>
              </a:prstGeom>
              <a:blipFill>
                <a:blip r:embed="rId34"/>
                <a:stretch>
                  <a:fillRect l="-15000" t="-9524" r="-8333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6" name="TextBox 55">
            <a:extLst>
              <a:ext uri="{FF2B5EF4-FFF2-40B4-BE49-F238E27FC236}">
                <a16:creationId xmlns:a16="http://schemas.microsoft.com/office/drawing/2014/main" id="{BFF7422F-5006-8A5B-7F28-8DB7F6B3F1B2}"/>
              </a:ext>
            </a:extLst>
          </p:cNvPr>
          <p:cNvSpPr txBox="1"/>
          <p:nvPr/>
        </p:nvSpPr>
        <p:spPr>
          <a:xfrm>
            <a:off x="4306030" y="3105627"/>
            <a:ext cx="573244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/>
              <a:t>from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E306BEB-6FCA-5506-2A42-B22FD53D93B5}"/>
              </a:ext>
            </a:extLst>
          </p:cNvPr>
          <p:cNvSpPr txBox="1"/>
          <p:nvPr/>
        </p:nvSpPr>
        <p:spPr>
          <a:xfrm>
            <a:off x="5957924" y="3101924"/>
            <a:ext cx="1385724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/>
              <a:t>coefficients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57A98E4C-1260-2A45-5E9B-72D5D6BCADC8}"/>
              </a:ext>
            </a:extLst>
          </p:cNvPr>
          <p:cNvSpPr/>
          <p:nvPr/>
        </p:nvSpPr>
        <p:spPr>
          <a:xfrm>
            <a:off x="5184599" y="2993491"/>
            <a:ext cx="468000" cy="4680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1273FF6A-047C-E0EF-C063-0109AC87A898}"/>
                  </a:ext>
                </a:extLst>
              </p:cNvPr>
              <p:cNvSpPr txBox="1"/>
              <p:nvPr/>
            </p:nvSpPr>
            <p:spPr>
              <a:xfrm>
                <a:off x="5222006" y="3101924"/>
                <a:ext cx="345223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</a:rPr>
                            <m:t>F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1273FF6A-047C-E0EF-C063-0109AC87A89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22006" y="3101924"/>
                <a:ext cx="345223" cy="256480"/>
              </a:xfrm>
              <a:prstGeom prst="rect">
                <a:avLst/>
              </a:prstGeom>
              <a:blipFill>
                <a:blip r:embed="rId35"/>
                <a:stretch>
                  <a:fillRect l="-17857" t="-11905" r="-10714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3B6A66C5-2DE4-41CC-324F-82DB9BA681BD}"/>
                  </a:ext>
                </a:extLst>
              </p:cNvPr>
              <p:cNvSpPr txBox="1"/>
              <p:nvPr/>
            </p:nvSpPr>
            <p:spPr>
              <a:xfrm>
                <a:off x="7881251" y="1912150"/>
                <a:ext cx="149534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0" smtClean="0">
                              <a:latin typeface="Cambria Math" panose="02040503050406030204" pitchFamily="18" charset="0"/>
                            </a:rPr>
                            <m:t>𝐒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</a:rPr>
                            <m:t>T</m:t>
                          </m:r>
                        </m:sub>
                      </m:sSub>
                      <m:r>
                        <a:rPr lang="en-US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p>
                          <m:sSub>
                            <m:sSubPr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sub>
                          </m:sSub>
                          <m:r>
                            <a:rPr lang="en-US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b>
                            <m:sSubPr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sub>
                          </m:sSub>
                        </m:sup>
                      </m:sSup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3B6A66C5-2DE4-41CC-324F-82DB9BA681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1251" y="1912150"/>
                <a:ext cx="1495345" cy="256480"/>
              </a:xfrm>
              <a:prstGeom prst="rect">
                <a:avLst/>
              </a:prstGeom>
              <a:blipFill>
                <a:blip r:embed="rId36"/>
                <a:stretch>
                  <a:fillRect l="-3673" t="-23810" r="-408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5C7AA3C-ED8C-EB33-40DA-2628B0556204}"/>
                  </a:ext>
                </a:extLst>
              </p:cNvPr>
              <p:cNvSpPr txBox="1"/>
              <p:nvPr/>
            </p:nvSpPr>
            <p:spPr>
              <a:xfrm>
                <a:off x="7881251" y="2513705"/>
                <a:ext cx="1530612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0" smtClean="0">
                              <a:latin typeface="Cambria Math" panose="02040503050406030204" pitchFamily="18" charset="0"/>
                            </a:rPr>
                            <m:t>𝐒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  <m:r>
                        <a:rPr lang="en-US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p>
                          <m:sSub>
                            <m:sSubPr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sub>
                          </m:sSub>
                          <m:r>
                            <a:rPr lang="en-US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b>
                            <m:sSubPr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sub>
                          </m:sSub>
                        </m:sup>
                      </m:sSup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5C7AA3C-ED8C-EB33-40DA-2628B05562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1251" y="2513705"/>
                <a:ext cx="1530612" cy="256480"/>
              </a:xfrm>
              <a:prstGeom prst="rect">
                <a:avLst/>
              </a:prstGeom>
              <a:blipFill>
                <a:blip r:embed="rId37"/>
                <a:stretch>
                  <a:fillRect l="-3187" t="-21429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C356949B-8C65-E5B8-49B8-02492D7D6B6A}"/>
                  </a:ext>
                </a:extLst>
              </p:cNvPr>
              <p:cNvSpPr txBox="1"/>
              <p:nvPr/>
            </p:nvSpPr>
            <p:spPr>
              <a:xfrm>
                <a:off x="7881251" y="3109762"/>
                <a:ext cx="149534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0" smtClean="0">
                              <a:latin typeface="Cambria Math" panose="02040503050406030204" pitchFamily="18" charset="0"/>
                            </a:rPr>
                            <m:t>𝐒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</a:rPr>
                            <m:t>F</m:t>
                          </m:r>
                        </m:sub>
                      </m:sSub>
                      <m:r>
                        <a:rPr lang="en-US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p>
                          <m:sSub>
                            <m:sSubPr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F</m:t>
                              </m:r>
                            </m:sub>
                          </m:sSub>
                          <m:r>
                            <a:rPr lang="en-US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b>
                            <m:sSubPr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0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F</m:t>
                              </m:r>
                            </m:sub>
                          </m:sSub>
                        </m:sup>
                      </m:sSup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C356949B-8C65-E5B8-49B8-02492D7D6B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81251" y="3109762"/>
                <a:ext cx="1495345" cy="256480"/>
              </a:xfrm>
              <a:prstGeom prst="rect">
                <a:avLst/>
              </a:prstGeom>
              <a:blipFill>
                <a:blip r:embed="rId38"/>
                <a:stretch>
                  <a:fillRect l="-2857" t="-21429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B59FBD46-D158-B73F-16EC-87443F016D5C}"/>
              </a:ext>
            </a:extLst>
          </p:cNvPr>
          <p:cNvCxnSpPr/>
          <p:nvPr/>
        </p:nvCxnSpPr>
        <p:spPr>
          <a:xfrm>
            <a:off x="7445151" y="2008239"/>
            <a:ext cx="265813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67822CE7-D223-B532-682F-F9465ED1655A}"/>
              </a:ext>
            </a:extLst>
          </p:cNvPr>
          <p:cNvCxnSpPr/>
          <p:nvPr/>
        </p:nvCxnSpPr>
        <p:spPr>
          <a:xfrm>
            <a:off x="7451051" y="2651269"/>
            <a:ext cx="265813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25584137-1BD0-121B-46F1-4BF7D5FE5C8B}"/>
              </a:ext>
            </a:extLst>
          </p:cNvPr>
          <p:cNvCxnSpPr/>
          <p:nvPr/>
        </p:nvCxnSpPr>
        <p:spPr>
          <a:xfrm>
            <a:off x="7445151" y="3252081"/>
            <a:ext cx="265813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C0BCE7FD-1BEC-CFCD-ECA1-52CE873379BA}"/>
              </a:ext>
            </a:extLst>
          </p:cNvPr>
          <p:cNvSpPr/>
          <p:nvPr/>
        </p:nvSpPr>
        <p:spPr>
          <a:xfrm>
            <a:off x="5658500" y="4328887"/>
            <a:ext cx="5220000" cy="648000"/>
          </a:xfrm>
          <a:prstGeom prst="roundRect">
            <a:avLst/>
          </a:prstGeom>
          <a:solidFill>
            <a:srgbClr val="F6F4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1F08B680-0652-2926-3067-D97DF50EED96}"/>
                  </a:ext>
                </a:extLst>
              </p:cNvPr>
              <p:cNvSpPr txBox="1"/>
              <p:nvPr/>
            </p:nvSpPr>
            <p:spPr>
              <a:xfrm>
                <a:off x="5973993" y="4536457"/>
                <a:ext cx="4589013" cy="5572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32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3200" b="1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3200" b="0" i="0" smtClean="0">
                              <a:latin typeface="Cambria Math" panose="02040503050406030204" pitchFamily="18" charset="0"/>
                            </a:rPr>
                            <m:t>s</m:t>
                          </m:r>
                        </m:sub>
                      </m:sSub>
                      <m:r>
                        <a:rPr lang="de-DE" sz="3200" b="1" i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32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32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3200" b="1" i="0" smtClean="0">
                                  <a:latin typeface="Cambria Math" panose="02040503050406030204" pitchFamily="18" charset="0"/>
                                </a:rPr>
                                <m:t>𝐒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3200" b="0" i="0" smtClean="0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</m:sub>
                          </m:sSub>
                          <m:r>
                            <a:rPr lang="en-US" sz="32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⨂</m:t>
                          </m:r>
                          <m:sSub>
                            <m:sSubPr>
                              <m:ctrlPr>
                                <a:rPr lang="en-US" altLang="zh-CN" sz="3200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3200" b="1">
                                  <a:latin typeface="Cambria Math" panose="02040503050406030204" pitchFamily="18" charset="0"/>
                                </a:rPr>
                                <m:t>𝐒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 b="0" i="0" smtClean="0">
                                  <a:latin typeface="Cambria Math" panose="02040503050406030204" pitchFamily="18" charset="0"/>
                                </a:rPr>
                                <m:t>R</m:t>
                              </m:r>
                            </m:sub>
                          </m:sSub>
                          <m:r>
                            <a:rPr lang="en-US" altLang="zh-CN" sz="32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⨂</m:t>
                          </m:r>
                          <m:sSub>
                            <m:sSubPr>
                              <m:ctrlPr>
                                <a:rPr lang="en-US" altLang="zh-CN" sz="3200" b="1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3200" b="1">
                                  <a:latin typeface="Cambria Math" panose="02040503050406030204" pitchFamily="18" charset="0"/>
                                </a:rPr>
                                <m:t>𝐒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 b="0" i="0" smtClean="0">
                                  <a:latin typeface="Cambria Math" panose="02040503050406030204" pitchFamily="18" charset="0"/>
                                </a:rPr>
                                <m:t>F</m:t>
                              </m:r>
                            </m:sub>
                          </m:sSub>
                        </m:e>
                      </m:d>
                      <m:r>
                        <a:rPr lang="en-US" altLang="zh-CN" sz="3200" b="1" i="0" smtClean="0">
                          <a:latin typeface="Cambria Math" panose="02040503050406030204" pitchFamily="18" charset="0"/>
                        </a:rPr>
                        <m:t>𝐲</m:t>
                      </m:r>
                      <m:r>
                        <a:rPr lang="en-US" altLang="zh-CN" sz="3200" b="1" i="0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altLang="zh-CN" sz="3200" b="1" i="0" smtClean="0">
                          <a:latin typeface="Cambria Math" panose="02040503050406030204" pitchFamily="18" charset="0"/>
                        </a:rPr>
                        <m:t>𝐒𝐲</m:t>
                      </m:r>
                    </m:oMath>
                  </m:oMathPara>
                </a14:m>
                <a:endParaRPr lang="en-US" sz="3200" b="1" dirty="0"/>
              </a:p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endParaRPr lang="en-US" sz="3200" b="1" dirty="0"/>
              </a:p>
            </p:txBody>
          </p:sp>
        </mc:Choice>
        <mc:Fallback xmlns=""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1F08B680-0652-2926-3067-D97DF50EED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3993" y="4536457"/>
                <a:ext cx="4589013" cy="557204"/>
              </a:xfrm>
              <a:prstGeom prst="rect">
                <a:avLst/>
              </a:prstGeom>
              <a:blipFill>
                <a:blip r:embed="rId39"/>
                <a:stretch>
                  <a:fillRect l="-930" t="-32609" r="-172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4EA0D888-CE34-534E-86C8-2FC93F92F6F3}"/>
              </a:ext>
            </a:extLst>
          </p:cNvPr>
          <p:cNvSpPr txBox="1"/>
          <p:nvPr/>
        </p:nvSpPr>
        <p:spPr>
          <a:xfrm>
            <a:off x="4266487" y="3870399"/>
            <a:ext cx="3011809" cy="2736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Subsampling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Process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: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99C9FAA-36E1-1310-4E4F-02E300C6CA30}"/>
              </a:ext>
            </a:extLst>
          </p:cNvPr>
          <p:cNvSpPr txBox="1"/>
          <p:nvPr/>
        </p:nvSpPr>
        <p:spPr>
          <a:xfrm>
            <a:off x="4266487" y="5113284"/>
            <a:ext cx="3950756" cy="2736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Unified Subsampling Matrix: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ADCF051E-A9FE-B20B-C5EC-10F879101A8B}"/>
                  </a:ext>
                </a:extLst>
              </p:cNvPr>
              <p:cNvSpPr txBox="1"/>
              <p:nvPr/>
            </p:nvSpPr>
            <p:spPr>
              <a:xfrm>
                <a:off x="4908305" y="5422464"/>
                <a:ext cx="6104238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3200" b="1" i="0" smtClean="0">
                          <a:latin typeface="Cambria Math" panose="02040503050406030204" pitchFamily="18" charset="0"/>
                        </a:rPr>
                        <m:t>𝐒</m:t>
                      </m:r>
                      <m:r>
                        <a:rPr lang="en-US" altLang="zh-CN" sz="32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en-US" altLang="zh-CN" sz="32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32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ℝ</m:t>
                          </m:r>
                        </m:e>
                        <m:sup>
                          <m:sSub>
                            <m:sSubPr>
                              <m:ctrlP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F</m:t>
                              </m:r>
                            </m:sub>
                          </m:sSub>
                          <m:r>
                            <a:rPr lang="en-US" altLang="zh-CN" sz="32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sSub>
                            <m:sSubPr>
                              <m:ctrlP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T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3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 b="0" i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F</m:t>
                              </m:r>
                            </m:sub>
                          </m:sSub>
                        </m:sup>
                      </m:sSup>
                    </m:oMath>
                  </m:oMathPara>
                </a14:m>
                <a:endParaRPr lang="en-US" sz="3200" dirty="0"/>
              </a:p>
            </p:txBody>
          </p:sp>
        </mc:Choice>
        <mc:Fallback xmlns=""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ADCF051E-A9FE-B20B-C5EC-10F879101A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8305" y="5422464"/>
                <a:ext cx="6104238" cy="584775"/>
              </a:xfrm>
              <a:prstGeom prst="rect">
                <a:avLst/>
              </a:prstGeom>
              <a:blipFill>
                <a:blip r:embed="rId4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89467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8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1" grpId="0"/>
      <p:bldP spid="42" grpId="0"/>
      <p:bldP spid="44" grpId="0" animBg="1"/>
      <p:bldP spid="45" grpId="0"/>
      <p:bldP spid="46" grpId="0" animBg="1"/>
      <p:bldP spid="47" grpId="0"/>
      <p:bldP spid="48" grpId="0"/>
      <p:bldP spid="49" grpId="0"/>
      <p:bldP spid="50" grpId="0" animBg="1"/>
      <p:bldP spid="51" grpId="0"/>
      <p:bldP spid="52" grpId="0"/>
      <p:bldP spid="53" grpId="0"/>
      <p:bldP spid="54" grpId="0" animBg="1"/>
      <p:bldP spid="55" grpId="0"/>
      <p:bldP spid="56" grpId="0"/>
      <p:bldP spid="57" grpId="0"/>
      <p:bldP spid="58" grpId="0" animBg="1"/>
      <p:bldP spid="59" grpId="0"/>
      <p:bldP spid="60" grpId="0"/>
      <p:bldP spid="61" grpId="0"/>
      <p:bldP spid="62" grpId="0"/>
      <p:bldP spid="67" grpId="0" animBg="1"/>
      <p:bldP spid="68" grpId="0"/>
      <p:bldP spid="18" grpId="0"/>
      <p:bldP spid="40" grpId="0"/>
      <p:bldP spid="6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48CA9-2782-F1D4-C031-95281D1AE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ep Probabilistic Subsampling (SOTA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5DD1B5-156C-D11E-E4C3-41528E4E6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71761E-22DC-0023-9F86-51FE3EE68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9D54BF-8A1F-FA74-4C92-3ADBFBEE2F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2CD431E-9D70-D302-5561-A767D084FE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umbel-</a:t>
            </a:r>
            <a:r>
              <a:rPr lang="en-US" dirty="0" err="1"/>
              <a:t>Softmax</a:t>
            </a:r>
            <a:r>
              <a:rPr lang="en-US" dirty="0"/>
              <a:t> reparameterization trick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987B51C-727A-5C89-35FE-D2294FF1CB7F}"/>
              </a:ext>
            </a:extLst>
          </p:cNvPr>
          <p:cNvGrpSpPr/>
          <p:nvPr/>
        </p:nvGrpSpPr>
        <p:grpSpPr>
          <a:xfrm>
            <a:off x="656408" y="5409707"/>
            <a:ext cx="2592000" cy="504000"/>
            <a:chOff x="900904" y="2970391"/>
            <a:chExt cx="2235856" cy="253861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7B0E427-66D2-9017-01C7-3420C4EDB820}"/>
                </a:ext>
              </a:extLst>
            </p:cNvPr>
            <p:cNvSpPr/>
            <p:nvPr/>
          </p:nvSpPr>
          <p:spPr>
            <a:xfrm>
              <a:off x="900904" y="3274987"/>
              <a:ext cx="2235856" cy="1811102"/>
            </a:xfrm>
            <a:prstGeom prst="rect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08C76A7-8263-C97D-328E-FDC5C3604E57}"/>
                </a:ext>
              </a:extLst>
            </p:cNvPr>
            <p:cNvSpPr/>
            <p:nvPr/>
          </p:nvSpPr>
          <p:spPr>
            <a:xfrm>
              <a:off x="1040789" y="2970391"/>
              <a:ext cx="1964485" cy="253861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B1DC6AA-0E93-0C5A-70C9-A3D35DDAFA55}"/>
                  </a:ext>
                </a:extLst>
              </p:cNvPr>
              <p:cNvSpPr txBox="1"/>
              <p:nvPr/>
            </p:nvSpPr>
            <p:spPr>
              <a:xfrm>
                <a:off x="838147" y="5554143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B1DC6AA-0E93-0C5A-70C9-A3D35DDAFA5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147" y="5554143"/>
                <a:ext cx="200376" cy="256480"/>
              </a:xfrm>
              <a:prstGeom prst="rect">
                <a:avLst/>
              </a:prstGeom>
              <a:blipFill>
                <a:blip r:embed="rId2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1252620-BB18-3D4D-7DA7-F32BD4BA7BCF}"/>
                  </a:ext>
                </a:extLst>
              </p:cNvPr>
              <p:cNvSpPr txBox="1"/>
              <p:nvPr/>
            </p:nvSpPr>
            <p:spPr>
              <a:xfrm>
                <a:off x="1196065" y="5554143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1252620-BB18-3D4D-7DA7-F32BD4BA7B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6065" y="5554143"/>
                <a:ext cx="200376" cy="256480"/>
              </a:xfrm>
              <a:prstGeom prst="rect">
                <a:avLst/>
              </a:prstGeom>
              <a:blipFill>
                <a:blip r:embed="rId3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5CB847A-1CFF-5425-DB58-846A0D90D113}"/>
                  </a:ext>
                </a:extLst>
              </p:cNvPr>
              <p:cNvSpPr txBox="1"/>
              <p:nvPr/>
            </p:nvSpPr>
            <p:spPr>
              <a:xfrm>
                <a:off x="1553983" y="5554143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5CB847A-1CFF-5425-DB58-846A0D90D11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3983" y="5554143"/>
                <a:ext cx="200376" cy="256480"/>
              </a:xfrm>
              <a:prstGeom prst="rect">
                <a:avLst/>
              </a:prstGeom>
              <a:blipFill>
                <a:blip r:embed="rId4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A1F168D-423A-C367-D292-B011D4FD6142}"/>
                  </a:ext>
                </a:extLst>
              </p:cNvPr>
              <p:cNvSpPr txBox="1"/>
              <p:nvPr/>
            </p:nvSpPr>
            <p:spPr>
              <a:xfrm>
                <a:off x="1911901" y="5554143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CA1F168D-423A-C367-D292-B011D4FD61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11901" y="5554143"/>
                <a:ext cx="200376" cy="256480"/>
              </a:xfrm>
              <a:prstGeom prst="rect">
                <a:avLst/>
              </a:prstGeom>
              <a:blipFill>
                <a:blip r:embed="rId5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0B4EA2D-1E76-E626-6DA0-548465C2D1C2}"/>
                  </a:ext>
                </a:extLst>
              </p:cNvPr>
              <p:cNvSpPr txBox="1"/>
              <p:nvPr/>
            </p:nvSpPr>
            <p:spPr>
              <a:xfrm>
                <a:off x="2269819" y="5554143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0B4EA2D-1E76-E626-6DA0-548465C2D1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69819" y="5554143"/>
                <a:ext cx="200376" cy="256480"/>
              </a:xfrm>
              <a:prstGeom prst="rect">
                <a:avLst/>
              </a:prstGeom>
              <a:blipFill>
                <a:blip r:embed="rId6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05587D74-BEF0-4FEC-81A0-11BAC436332B}"/>
                  </a:ext>
                </a:extLst>
              </p:cNvPr>
              <p:cNvSpPr txBox="1"/>
              <p:nvPr/>
            </p:nvSpPr>
            <p:spPr>
              <a:xfrm>
                <a:off x="2627737" y="5554143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05587D74-BEF0-4FEC-81A0-11BAC43633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7737" y="5554143"/>
                <a:ext cx="200376" cy="256480"/>
              </a:xfrm>
              <a:prstGeom prst="rect">
                <a:avLst/>
              </a:prstGeom>
              <a:blipFill>
                <a:blip r:embed="rId7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075BA4E-C8B4-AF56-14C2-25842D4F596E}"/>
                  </a:ext>
                </a:extLst>
              </p:cNvPr>
              <p:cNvSpPr txBox="1"/>
              <p:nvPr/>
            </p:nvSpPr>
            <p:spPr>
              <a:xfrm>
                <a:off x="2985657" y="5554143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075BA4E-C8B4-AF56-14C2-25842D4F59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85657" y="5554143"/>
                <a:ext cx="200376" cy="256480"/>
              </a:xfrm>
              <a:prstGeom prst="rect">
                <a:avLst/>
              </a:prstGeom>
              <a:blipFill>
                <a:blip r:embed="rId8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2" name="Group 41">
            <a:extLst>
              <a:ext uri="{FF2B5EF4-FFF2-40B4-BE49-F238E27FC236}">
                <a16:creationId xmlns:a16="http://schemas.microsoft.com/office/drawing/2014/main" id="{B2F1A5B0-36D0-12FE-99A1-D6F39C3CC9A7}"/>
              </a:ext>
            </a:extLst>
          </p:cNvPr>
          <p:cNvGrpSpPr/>
          <p:nvPr/>
        </p:nvGrpSpPr>
        <p:grpSpPr>
          <a:xfrm>
            <a:off x="656408" y="1964485"/>
            <a:ext cx="2592000" cy="504000"/>
            <a:chOff x="900904" y="2970391"/>
            <a:chExt cx="2235856" cy="2538616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F286F4B-F0B8-5F12-9D11-735CB1671E0D}"/>
                </a:ext>
              </a:extLst>
            </p:cNvPr>
            <p:cNvSpPr/>
            <p:nvPr/>
          </p:nvSpPr>
          <p:spPr>
            <a:xfrm>
              <a:off x="900904" y="3274987"/>
              <a:ext cx="2235856" cy="1811102"/>
            </a:xfrm>
            <a:prstGeom prst="rect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B459327-B75F-C72B-1FAA-138EF8DAD826}"/>
                </a:ext>
              </a:extLst>
            </p:cNvPr>
            <p:cNvSpPr/>
            <p:nvPr/>
          </p:nvSpPr>
          <p:spPr>
            <a:xfrm>
              <a:off x="1040789" y="2970391"/>
              <a:ext cx="1964485" cy="253861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ED913EE9-3A78-961D-1737-3C86C8D9C07F}"/>
                  </a:ext>
                </a:extLst>
              </p:cNvPr>
              <p:cNvSpPr txBox="1"/>
              <p:nvPr/>
            </p:nvSpPr>
            <p:spPr>
              <a:xfrm>
                <a:off x="724730" y="2085472"/>
                <a:ext cx="306622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ED913EE9-3A78-961D-1737-3C86C8D9C0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4730" y="2085472"/>
                <a:ext cx="306622" cy="256480"/>
              </a:xfrm>
              <a:prstGeom prst="rect">
                <a:avLst/>
              </a:prstGeom>
              <a:blipFill>
                <a:blip r:embed="rId9"/>
                <a:stretch>
                  <a:fillRect l="-20000" t="-14286" r="-10000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BB269728-70D1-1211-0713-EB0FE2BCCC53}"/>
                  </a:ext>
                </a:extLst>
              </p:cNvPr>
              <p:cNvSpPr txBox="1"/>
              <p:nvPr/>
            </p:nvSpPr>
            <p:spPr>
              <a:xfrm>
                <a:off x="1068128" y="2085472"/>
                <a:ext cx="31258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BB269728-70D1-1211-0713-EB0FE2BCCC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8128" y="2085472"/>
                <a:ext cx="312585" cy="256480"/>
              </a:xfrm>
              <a:prstGeom prst="rect">
                <a:avLst/>
              </a:prstGeom>
              <a:blipFill>
                <a:blip r:embed="rId10"/>
                <a:stretch>
                  <a:fillRect l="-19608" t="-14286" r="-9804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26349DEA-BD6A-AF03-CD15-179B944601CC}"/>
                  </a:ext>
                </a:extLst>
              </p:cNvPr>
              <p:cNvSpPr txBox="1"/>
              <p:nvPr/>
            </p:nvSpPr>
            <p:spPr>
              <a:xfrm>
                <a:off x="1417489" y="2085472"/>
                <a:ext cx="31258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26349DEA-BD6A-AF03-CD15-179B944601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17489" y="2085472"/>
                <a:ext cx="312585" cy="256480"/>
              </a:xfrm>
              <a:prstGeom prst="rect">
                <a:avLst/>
              </a:prstGeom>
              <a:blipFill>
                <a:blip r:embed="rId11"/>
                <a:stretch>
                  <a:fillRect l="-19608" t="-14286" r="-7843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47F1002-CA81-1407-F0FE-0AEC32C96DF5}"/>
                  </a:ext>
                </a:extLst>
              </p:cNvPr>
              <p:cNvSpPr txBox="1"/>
              <p:nvPr/>
            </p:nvSpPr>
            <p:spPr>
              <a:xfrm>
                <a:off x="1766850" y="2085472"/>
                <a:ext cx="306622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47F1002-CA81-1407-F0FE-0AEC32C96D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66850" y="2085472"/>
                <a:ext cx="306622" cy="256480"/>
              </a:xfrm>
              <a:prstGeom prst="rect">
                <a:avLst/>
              </a:prstGeom>
              <a:blipFill>
                <a:blip r:embed="rId12"/>
                <a:stretch>
                  <a:fillRect l="-20000" t="-14286" r="-10000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93FEE9ED-C9AD-E347-17D3-5415E2DCFC0A}"/>
                  </a:ext>
                </a:extLst>
              </p:cNvPr>
              <p:cNvSpPr txBox="1"/>
              <p:nvPr/>
            </p:nvSpPr>
            <p:spPr>
              <a:xfrm>
                <a:off x="2110248" y="2085472"/>
                <a:ext cx="31258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93FEE9ED-C9AD-E347-17D3-5415E2DCFC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0248" y="2085472"/>
                <a:ext cx="312585" cy="256480"/>
              </a:xfrm>
              <a:prstGeom prst="rect">
                <a:avLst/>
              </a:prstGeom>
              <a:blipFill>
                <a:blip r:embed="rId13"/>
                <a:stretch>
                  <a:fillRect l="-19608" t="-14286" r="-9804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35D14B72-6E3B-DCC0-CA68-EE092F16A3BC}"/>
                  </a:ext>
                </a:extLst>
              </p:cNvPr>
              <p:cNvSpPr txBox="1"/>
              <p:nvPr/>
            </p:nvSpPr>
            <p:spPr>
              <a:xfrm>
                <a:off x="2459609" y="2085472"/>
                <a:ext cx="31258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35D14B72-6E3B-DCC0-CA68-EE092F16A3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59609" y="2085472"/>
                <a:ext cx="312585" cy="256480"/>
              </a:xfrm>
              <a:prstGeom prst="rect">
                <a:avLst/>
              </a:prstGeom>
              <a:blipFill>
                <a:blip r:embed="rId14"/>
                <a:stretch>
                  <a:fillRect l="-19231" t="-14286" r="-7692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F6C6E7E9-C693-6C50-13D4-6452DF1AB263}"/>
                  </a:ext>
                </a:extLst>
              </p:cNvPr>
              <p:cNvSpPr txBox="1"/>
              <p:nvPr/>
            </p:nvSpPr>
            <p:spPr>
              <a:xfrm>
                <a:off x="2808968" y="2085472"/>
                <a:ext cx="31258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F6C6E7E9-C693-6C50-13D4-6452DF1AB2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8968" y="2085472"/>
                <a:ext cx="312585" cy="256480"/>
              </a:xfrm>
              <a:prstGeom prst="rect">
                <a:avLst/>
              </a:prstGeom>
              <a:blipFill>
                <a:blip r:embed="rId15"/>
                <a:stretch>
                  <a:fillRect l="-19608" t="-14286" r="-7843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2" name="Group 51">
            <a:extLst>
              <a:ext uri="{FF2B5EF4-FFF2-40B4-BE49-F238E27FC236}">
                <a16:creationId xmlns:a16="http://schemas.microsoft.com/office/drawing/2014/main" id="{3658AF83-85F6-639F-7EDD-761D7AB8946C}"/>
              </a:ext>
            </a:extLst>
          </p:cNvPr>
          <p:cNvGrpSpPr/>
          <p:nvPr/>
        </p:nvGrpSpPr>
        <p:grpSpPr>
          <a:xfrm>
            <a:off x="3775587" y="1964485"/>
            <a:ext cx="2592000" cy="504000"/>
            <a:chOff x="900904" y="2970391"/>
            <a:chExt cx="2235856" cy="2538616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A138364-236A-D96B-46CE-F01B400110E1}"/>
                </a:ext>
              </a:extLst>
            </p:cNvPr>
            <p:cNvSpPr/>
            <p:nvPr/>
          </p:nvSpPr>
          <p:spPr>
            <a:xfrm>
              <a:off x="900904" y="3274987"/>
              <a:ext cx="2235856" cy="1811102"/>
            </a:xfrm>
            <a:prstGeom prst="rect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2932846-5613-C601-35FC-76EDB625C18A}"/>
                </a:ext>
              </a:extLst>
            </p:cNvPr>
            <p:cNvSpPr/>
            <p:nvPr/>
          </p:nvSpPr>
          <p:spPr>
            <a:xfrm>
              <a:off x="1040789" y="2970391"/>
              <a:ext cx="1964485" cy="253861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E5B9B04B-7893-B426-942F-D78662ED758D}"/>
                  </a:ext>
                </a:extLst>
              </p:cNvPr>
              <p:cNvSpPr txBox="1"/>
              <p:nvPr/>
            </p:nvSpPr>
            <p:spPr>
              <a:xfrm>
                <a:off x="3898583" y="2066481"/>
                <a:ext cx="319703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E5B9B04B-7893-B426-942F-D78662ED75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98583" y="2066481"/>
                <a:ext cx="319703" cy="256480"/>
              </a:xfrm>
              <a:prstGeom prst="rect">
                <a:avLst/>
              </a:prstGeom>
              <a:blipFill>
                <a:blip r:embed="rId16"/>
                <a:stretch>
                  <a:fillRect l="-19231" r="-9615" b="-309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ABF4BFD-F232-B3B8-0ABC-B08D0F67987E}"/>
                  </a:ext>
                </a:extLst>
              </p:cNvPr>
              <p:cNvSpPr txBox="1"/>
              <p:nvPr/>
            </p:nvSpPr>
            <p:spPr>
              <a:xfrm>
                <a:off x="4241981" y="2066481"/>
                <a:ext cx="325667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ABF4BFD-F232-B3B8-0ABC-B08D0F6798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41981" y="2066481"/>
                <a:ext cx="325667" cy="256480"/>
              </a:xfrm>
              <a:prstGeom prst="rect">
                <a:avLst/>
              </a:prstGeom>
              <a:blipFill>
                <a:blip r:embed="rId17"/>
                <a:stretch>
                  <a:fillRect l="-18868" r="-9434" b="-309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766102B9-81B6-31C1-1D80-2F506E604BC0}"/>
                  </a:ext>
                </a:extLst>
              </p:cNvPr>
              <p:cNvSpPr txBox="1"/>
              <p:nvPr/>
            </p:nvSpPr>
            <p:spPr>
              <a:xfrm>
                <a:off x="4591342" y="2066481"/>
                <a:ext cx="325667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766102B9-81B6-31C1-1D80-2F506E604B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1342" y="2066481"/>
                <a:ext cx="325667" cy="256480"/>
              </a:xfrm>
              <a:prstGeom prst="rect">
                <a:avLst/>
              </a:prstGeom>
              <a:blipFill>
                <a:blip r:embed="rId18"/>
                <a:stretch>
                  <a:fillRect l="-18519" r="-9259" b="-309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DB245EB6-C401-5483-9F5B-1C618F7CFF2D}"/>
                  </a:ext>
                </a:extLst>
              </p:cNvPr>
              <p:cNvSpPr txBox="1"/>
              <p:nvPr/>
            </p:nvSpPr>
            <p:spPr>
              <a:xfrm>
                <a:off x="4940703" y="2066481"/>
                <a:ext cx="32566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DB245EB6-C401-5483-9F5B-1C618F7CFF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40703" y="2066481"/>
                <a:ext cx="325666" cy="256480"/>
              </a:xfrm>
              <a:prstGeom prst="rect">
                <a:avLst/>
              </a:prstGeom>
              <a:blipFill>
                <a:blip r:embed="rId19"/>
                <a:stretch>
                  <a:fillRect l="-18519" r="-7407" b="-309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FFD18D47-7523-D683-AFAF-01CF2013EE57}"/>
                  </a:ext>
                </a:extLst>
              </p:cNvPr>
              <p:cNvSpPr txBox="1"/>
              <p:nvPr/>
            </p:nvSpPr>
            <p:spPr>
              <a:xfrm>
                <a:off x="5284101" y="2066481"/>
                <a:ext cx="325667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FFD18D47-7523-D683-AFAF-01CF2013EE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84101" y="2066481"/>
                <a:ext cx="325667" cy="256480"/>
              </a:xfrm>
              <a:prstGeom prst="rect">
                <a:avLst/>
              </a:prstGeom>
              <a:blipFill>
                <a:blip r:embed="rId20"/>
                <a:stretch>
                  <a:fillRect l="-18868" r="-9434" b="-309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D40ADCEF-A97A-ABFB-F3E1-7033C110C67E}"/>
                  </a:ext>
                </a:extLst>
              </p:cNvPr>
              <p:cNvSpPr txBox="1"/>
              <p:nvPr/>
            </p:nvSpPr>
            <p:spPr>
              <a:xfrm>
                <a:off x="5633462" y="2066481"/>
                <a:ext cx="325667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D40ADCEF-A97A-ABFB-F3E1-7033C110C6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33462" y="2066481"/>
                <a:ext cx="325667" cy="256480"/>
              </a:xfrm>
              <a:prstGeom prst="rect">
                <a:avLst/>
              </a:prstGeom>
              <a:blipFill>
                <a:blip r:embed="rId21"/>
                <a:stretch>
                  <a:fillRect l="-18519" r="-9259" b="-309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CE990609-744D-D1A8-6878-CADD003F5F09}"/>
                  </a:ext>
                </a:extLst>
              </p:cNvPr>
              <p:cNvSpPr txBox="1"/>
              <p:nvPr/>
            </p:nvSpPr>
            <p:spPr>
              <a:xfrm>
                <a:off x="5982821" y="2066481"/>
                <a:ext cx="325667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CE990609-744D-D1A8-6878-CADD003F5F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82821" y="2066481"/>
                <a:ext cx="325667" cy="256480"/>
              </a:xfrm>
              <a:prstGeom prst="rect">
                <a:avLst/>
              </a:prstGeom>
              <a:blipFill>
                <a:blip r:embed="rId22"/>
                <a:stretch>
                  <a:fillRect l="-18519" r="-7407" b="-309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2" name="Oval 61">
            <a:extLst>
              <a:ext uri="{FF2B5EF4-FFF2-40B4-BE49-F238E27FC236}">
                <a16:creationId xmlns:a16="http://schemas.microsoft.com/office/drawing/2014/main" id="{C4C34E4C-4A1F-39A3-2AA0-3F91D52D1F20}"/>
              </a:ext>
            </a:extLst>
          </p:cNvPr>
          <p:cNvSpPr/>
          <p:nvPr/>
        </p:nvSpPr>
        <p:spPr>
          <a:xfrm>
            <a:off x="1772408" y="2904154"/>
            <a:ext cx="360000" cy="360000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3" name="Plus Sign 62">
            <a:extLst>
              <a:ext uri="{FF2B5EF4-FFF2-40B4-BE49-F238E27FC236}">
                <a16:creationId xmlns:a16="http://schemas.microsoft.com/office/drawing/2014/main" id="{72F880CF-F754-406B-8A7F-31C8C591DCD5}"/>
              </a:ext>
            </a:extLst>
          </p:cNvPr>
          <p:cNvSpPr/>
          <p:nvPr/>
        </p:nvSpPr>
        <p:spPr>
          <a:xfrm>
            <a:off x="1772408" y="2903031"/>
            <a:ext cx="360000" cy="360000"/>
          </a:xfrm>
          <a:prstGeom prst="mathPlus">
            <a:avLst>
              <a:gd name="adj1" fmla="val 13688"/>
            </a:avLst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5" name="Connector: Curved 64">
            <a:extLst>
              <a:ext uri="{FF2B5EF4-FFF2-40B4-BE49-F238E27FC236}">
                <a16:creationId xmlns:a16="http://schemas.microsoft.com/office/drawing/2014/main" id="{7D1A2A39-1FA0-72DF-8279-A2310CC3D270}"/>
              </a:ext>
            </a:extLst>
          </p:cNvPr>
          <p:cNvCxnSpPr>
            <a:cxnSpLocks/>
            <a:stCxn id="54" idx="2"/>
            <a:endCxn id="62" idx="6"/>
          </p:cNvCxnSpPr>
          <p:nvPr/>
        </p:nvCxnSpPr>
        <p:spPr>
          <a:xfrm rot="5400000">
            <a:off x="3296598" y="1304295"/>
            <a:ext cx="615669" cy="2944048"/>
          </a:xfrm>
          <a:prstGeom prst="curvedConnector2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8C26C942-FF74-284E-A8B3-F2B698D68B95}"/>
              </a:ext>
            </a:extLst>
          </p:cNvPr>
          <p:cNvSpPr txBox="1"/>
          <p:nvPr/>
        </p:nvSpPr>
        <p:spPr>
          <a:xfrm>
            <a:off x="1650638" y="1734340"/>
            <a:ext cx="615902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git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E23CD57-F5BC-EE81-5A0F-C3810890D24A}"/>
              </a:ext>
            </a:extLst>
          </p:cNvPr>
          <p:cNvSpPr txBox="1"/>
          <p:nvPr/>
        </p:nvSpPr>
        <p:spPr>
          <a:xfrm>
            <a:off x="4418088" y="1734339"/>
            <a:ext cx="1501148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umbel Noise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6018455F-1CCF-9F3F-8FA2-799FCF7FD0E9}"/>
              </a:ext>
            </a:extLst>
          </p:cNvPr>
          <p:cNvCxnSpPr>
            <a:cxnSpLocks/>
            <a:endCxn id="62" idx="0"/>
          </p:cNvCxnSpPr>
          <p:nvPr/>
        </p:nvCxnSpPr>
        <p:spPr>
          <a:xfrm>
            <a:off x="1949973" y="2528957"/>
            <a:ext cx="2435" cy="37519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21D26D06-0131-7DB0-CABF-9A2EE89ADB13}"/>
              </a:ext>
            </a:extLst>
          </p:cNvPr>
          <p:cNvSpPr/>
          <p:nvPr/>
        </p:nvSpPr>
        <p:spPr>
          <a:xfrm>
            <a:off x="944408" y="3702978"/>
            <a:ext cx="2016000" cy="396000"/>
          </a:xfrm>
          <a:prstGeom prst="roundRect">
            <a:avLst/>
          </a:prstGeom>
          <a:solidFill>
            <a:srgbClr val="DAE9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1761F659-5C7B-CD8F-61F4-20ED06BC043E}"/>
                  </a:ext>
                </a:extLst>
              </p:cNvPr>
              <p:cNvSpPr txBox="1"/>
              <p:nvPr/>
            </p:nvSpPr>
            <p:spPr>
              <a:xfrm>
                <a:off x="1422690" y="3772738"/>
                <a:ext cx="1059436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𝑆𝑜𝑓𝑡𝑚𝑎𝑥</m:t>
                      </m:r>
                    </m:oMath>
                  </m:oMathPara>
                </a14:m>
                <a:endParaRPr lang="en-US" sz="20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1761F659-5C7B-CD8F-61F4-20ED06BC043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22690" y="3772738"/>
                <a:ext cx="1059436" cy="256480"/>
              </a:xfrm>
              <a:prstGeom prst="rect">
                <a:avLst/>
              </a:prstGeom>
              <a:blipFill>
                <a:blip r:embed="rId23"/>
                <a:stretch>
                  <a:fillRect l="-8621" t="-19048" r="-8046" b="-404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90C70F4C-531A-E0CE-A266-586C7446F371}"/>
              </a:ext>
            </a:extLst>
          </p:cNvPr>
          <p:cNvSpPr/>
          <p:nvPr/>
        </p:nvSpPr>
        <p:spPr>
          <a:xfrm>
            <a:off x="944408" y="4499590"/>
            <a:ext cx="2016000" cy="396000"/>
          </a:xfrm>
          <a:prstGeom prst="roundRect">
            <a:avLst/>
          </a:prstGeom>
          <a:solidFill>
            <a:srgbClr val="E1D6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BA92D903-5D9B-D0B0-1624-71985DF7C815}"/>
                  </a:ext>
                </a:extLst>
              </p:cNvPr>
              <p:cNvSpPr txBox="1"/>
              <p:nvPr/>
            </p:nvSpPr>
            <p:spPr>
              <a:xfrm>
                <a:off x="1422690" y="4569350"/>
                <a:ext cx="1059436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𝐴𝑟𝑔𝑚𝑎𝑥</m:t>
                      </m:r>
                    </m:oMath>
                  </m:oMathPara>
                </a14:m>
                <a:endParaRPr lang="en-US" sz="20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BA92D903-5D9B-D0B0-1624-71985DF7C8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22690" y="4569350"/>
                <a:ext cx="1059436" cy="256480"/>
              </a:xfrm>
              <a:prstGeom prst="rect">
                <a:avLst/>
              </a:prstGeom>
              <a:blipFill>
                <a:blip r:embed="rId24"/>
                <a:stretch>
                  <a:fillRect l="-5172" t="-16667" r="-4598" b="-404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88715770-312F-25DD-657F-4322CCBD040D}"/>
              </a:ext>
            </a:extLst>
          </p:cNvPr>
          <p:cNvCxnSpPr>
            <a:cxnSpLocks/>
            <a:stCxn id="62" idx="4"/>
            <a:endCxn id="73" idx="0"/>
          </p:cNvCxnSpPr>
          <p:nvPr/>
        </p:nvCxnSpPr>
        <p:spPr>
          <a:xfrm>
            <a:off x="1952408" y="3264154"/>
            <a:ext cx="0" cy="438824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2F7500F5-408E-3861-8FF4-2A61EDD8FAD8}"/>
              </a:ext>
            </a:extLst>
          </p:cNvPr>
          <p:cNvCxnSpPr>
            <a:cxnSpLocks/>
            <a:stCxn id="73" idx="2"/>
            <a:endCxn id="75" idx="0"/>
          </p:cNvCxnSpPr>
          <p:nvPr/>
        </p:nvCxnSpPr>
        <p:spPr>
          <a:xfrm>
            <a:off x="1952408" y="4098978"/>
            <a:ext cx="0" cy="400612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5DBB5646-6174-C44A-F0B5-9D938A73DA4F}"/>
              </a:ext>
            </a:extLst>
          </p:cNvPr>
          <p:cNvCxnSpPr>
            <a:cxnSpLocks/>
            <a:stCxn id="75" idx="2"/>
            <a:endCxn id="10" idx="0"/>
          </p:cNvCxnSpPr>
          <p:nvPr/>
        </p:nvCxnSpPr>
        <p:spPr>
          <a:xfrm>
            <a:off x="1952408" y="4895590"/>
            <a:ext cx="4869" cy="51411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712B6D8D-D380-D4B8-7340-88309520257F}"/>
              </a:ext>
            </a:extLst>
          </p:cNvPr>
          <p:cNvGrpSpPr/>
          <p:nvPr/>
        </p:nvGrpSpPr>
        <p:grpSpPr>
          <a:xfrm>
            <a:off x="7847665" y="2024759"/>
            <a:ext cx="3600000" cy="1880048"/>
            <a:chOff x="900904" y="3258046"/>
            <a:chExt cx="2235856" cy="188004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CD1B9262-CDF7-1A42-19A9-2101F86F6328}"/>
                </a:ext>
              </a:extLst>
            </p:cNvPr>
            <p:cNvSpPr/>
            <p:nvPr/>
          </p:nvSpPr>
          <p:spPr>
            <a:xfrm>
              <a:off x="900904" y="3274987"/>
              <a:ext cx="2235856" cy="1811102"/>
            </a:xfrm>
            <a:prstGeom prst="rect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35281092-4B35-F2B1-6A33-C47209EC653F}"/>
                </a:ext>
              </a:extLst>
            </p:cNvPr>
            <p:cNvSpPr/>
            <p:nvPr/>
          </p:nvSpPr>
          <p:spPr>
            <a:xfrm>
              <a:off x="1040789" y="3258046"/>
              <a:ext cx="1964485" cy="188004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1" name="Arrow: Right 120">
            <a:extLst>
              <a:ext uri="{FF2B5EF4-FFF2-40B4-BE49-F238E27FC236}">
                <a16:creationId xmlns:a16="http://schemas.microsoft.com/office/drawing/2014/main" id="{F6133807-DBB9-9366-5F7A-250CCCD9E823}"/>
              </a:ext>
            </a:extLst>
          </p:cNvPr>
          <p:cNvSpPr/>
          <p:nvPr/>
        </p:nvSpPr>
        <p:spPr>
          <a:xfrm>
            <a:off x="6830515" y="1942721"/>
            <a:ext cx="626562" cy="504000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5375C640-F837-2B52-D92F-32A1C6D7630E}"/>
                  </a:ext>
                </a:extLst>
              </p:cNvPr>
              <p:cNvSpPr txBox="1"/>
              <p:nvPr/>
            </p:nvSpPr>
            <p:spPr>
              <a:xfrm>
                <a:off x="7941065" y="2167491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chemeClr val="tx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,1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5375C640-F837-2B52-D92F-32A1C6D7630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1065" y="2167491"/>
                <a:ext cx="454099" cy="256480"/>
              </a:xfrm>
              <a:prstGeom prst="rect">
                <a:avLst/>
              </a:prstGeom>
              <a:blipFill>
                <a:blip r:embed="rId25"/>
                <a:stretch>
                  <a:fillRect l="-13514" t="-14286" r="-675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931FDD28-39C4-FF61-6894-E75A3EB8EAFA}"/>
                  </a:ext>
                </a:extLst>
              </p:cNvPr>
              <p:cNvSpPr txBox="1"/>
              <p:nvPr/>
            </p:nvSpPr>
            <p:spPr>
              <a:xfrm>
                <a:off x="8438097" y="2167491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tx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931FDD28-39C4-FF61-6894-E75A3EB8EA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38097" y="2167491"/>
                <a:ext cx="454099" cy="256480"/>
              </a:xfrm>
              <a:prstGeom prst="rect">
                <a:avLst/>
              </a:prstGeom>
              <a:blipFill>
                <a:blip r:embed="rId26"/>
                <a:stretch>
                  <a:fillRect l="-13333" t="-14286" r="-666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C29FA48C-5B47-BF97-40AB-C50E19383F76}"/>
                  </a:ext>
                </a:extLst>
              </p:cNvPr>
              <p:cNvSpPr txBox="1"/>
              <p:nvPr/>
            </p:nvSpPr>
            <p:spPr>
              <a:xfrm>
                <a:off x="8935129" y="2167491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tx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C29FA48C-5B47-BF97-40AB-C50E19383F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35129" y="2167491"/>
                <a:ext cx="454099" cy="256480"/>
              </a:xfrm>
              <a:prstGeom prst="rect">
                <a:avLst/>
              </a:prstGeom>
              <a:blipFill>
                <a:blip r:embed="rId27"/>
                <a:stretch>
                  <a:fillRect l="-13514" t="-14286" r="-675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2EB597EE-F132-7EA9-A52B-2ACEE3CC5629}"/>
                  </a:ext>
                </a:extLst>
              </p:cNvPr>
              <p:cNvSpPr txBox="1"/>
              <p:nvPr/>
            </p:nvSpPr>
            <p:spPr>
              <a:xfrm>
                <a:off x="9432161" y="2167491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tx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2EB597EE-F132-7EA9-A52B-2ACEE3CC56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2161" y="2167491"/>
                <a:ext cx="454099" cy="256480"/>
              </a:xfrm>
              <a:prstGeom prst="rect">
                <a:avLst/>
              </a:prstGeom>
              <a:blipFill>
                <a:blip r:embed="rId28"/>
                <a:stretch>
                  <a:fillRect l="-13333" t="-14286" r="-5333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6BCD0865-AE6A-ABAF-D023-44569D041358}"/>
                  </a:ext>
                </a:extLst>
              </p:cNvPr>
              <p:cNvSpPr txBox="1"/>
              <p:nvPr/>
            </p:nvSpPr>
            <p:spPr>
              <a:xfrm>
                <a:off x="9929193" y="2167491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tx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6BCD0865-AE6A-ABAF-D023-44569D0413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29193" y="2167491"/>
                <a:ext cx="454099" cy="256480"/>
              </a:xfrm>
              <a:prstGeom prst="rect">
                <a:avLst/>
              </a:prstGeom>
              <a:blipFill>
                <a:blip r:embed="rId29"/>
                <a:stretch>
                  <a:fillRect l="-13514" t="-14286" r="-675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165E2583-4C88-21A8-0D34-74760BBBABC0}"/>
                  </a:ext>
                </a:extLst>
              </p:cNvPr>
              <p:cNvSpPr txBox="1"/>
              <p:nvPr/>
            </p:nvSpPr>
            <p:spPr>
              <a:xfrm>
                <a:off x="10426225" y="2167491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tx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165E2583-4C88-21A8-0D34-74760BBBAB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26225" y="2167491"/>
                <a:ext cx="454099" cy="256480"/>
              </a:xfrm>
              <a:prstGeom prst="rect">
                <a:avLst/>
              </a:prstGeom>
              <a:blipFill>
                <a:blip r:embed="rId30"/>
                <a:stretch>
                  <a:fillRect l="-13333" t="-14286" r="-666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0C691302-60D5-A280-32F7-B567763C9788}"/>
                  </a:ext>
                </a:extLst>
              </p:cNvPr>
              <p:cNvSpPr txBox="1"/>
              <p:nvPr/>
            </p:nvSpPr>
            <p:spPr>
              <a:xfrm>
                <a:off x="10923256" y="2170618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tx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0C691302-60D5-A280-32F7-B567763C97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23256" y="2170618"/>
                <a:ext cx="454099" cy="256480"/>
              </a:xfrm>
              <a:prstGeom prst="rect">
                <a:avLst/>
              </a:prstGeom>
              <a:blipFill>
                <a:blip r:embed="rId31"/>
                <a:stretch>
                  <a:fillRect l="-13514" t="-14286" r="-675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B0AFB9BA-93E3-A4A2-65B0-EE123404E70D}"/>
                  </a:ext>
                </a:extLst>
              </p:cNvPr>
              <p:cNvSpPr txBox="1"/>
              <p:nvPr/>
            </p:nvSpPr>
            <p:spPr>
              <a:xfrm>
                <a:off x="7941065" y="3489394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,1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B0AFB9BA-93E3-A4A2-65B0-EE123404E7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1065" y="3489394"/>
                <a:ext cx="454099" cy="256480"/>
              </a:xfrm>
              <a:prstGeom prst="rect">
                <a:avLst/>
              </a:prstGeom>
              <a:blipFill>
                <a:blip r:embed="rId32"/>
                <a:stretch>
                  <a:fillRect l="-13514" t="-11905" r="-675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7E8E3F7A-4EC9-C8AD-C606-AEA59D5B5F40}"/>
                  </a:ext>
                </a:extLst>
              </p:cNvPr>
              <p:cNvSpPr txBox="1"/>
              <p:nvPr/>
            </p:nvSpPr>
            <p:spPr>
              <a:xfrm>
                <a:off x="8438097" y="3489394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7E8E3F7A-4EC9-C8AD-C606-AEA59D5B5F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38097" y="3489394"/>
                <a:ext cx="454099" cy="256480"/>
              </a:xfrm>
              <a:prstGeom prst="rect">
                <a:avLst/>
              </a:prstGeom>
              <a:blipFill>
                <a:blip r:embed="rId33"/>
                <a:stretch>
                  <a:fillRect l="-13333" t="-11905" r="-666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2D693BC0-E88C-B67F-A11D-F153A1DE5CBB}"/>
                  </a:ext>
                </a:extLst>
              </p:cNvPr>
              <p:cNvSpPr txBox="1"/>
              <p:nvPr/>
            </p:nvSpPr>
            <p:spPr>
              <a:xfrm>
                <a:off x="8935129" y="3489394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2D693BC0-E88C-B67F-A11D-F153A1DE5C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35129" y="3489394"/>
                <a:ext cx="454099" cy="256480"/>
              </a:xfrm>
              <a:prstGeom prst="rect">
                <a:avLst/>
              </a:prstGeom>
              <a:blipFill>
                <a:blip r:embed="rId34"/>
                <a:stretch>
                  <a:fillRect l="-13514" t="-11905" r="-675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790F8C79-7A5D-4161-6E8C-35C496B7A4F3}"/>
                  </a:ext>
                </a:extLst>
              </p:cNvPr>
              <p:cNvSpPr txBox="1"/>
              <p:nvPr/>
            </p:nvSpPr>
            <p:spPr>
              <a:xfrm>
                <a:off x="9432161" y="3489394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790F8C79-7A5D-4161-6E8C-35C496B7A4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2161" y="3489394"/>
                <a:ext cx="454099" cy="256480"/>
              </a:xfrm>
              <a:prstGeom prst="rect">
                <a:avLst/>
              </a:prstGeom>
              <a:blipFill>
                <a:blip r:embed="rId35"/>
                <a:stretch>
                  <a:fillRect l="-13333" t="-11905" r="-5333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74EE4173-6302-2E91-D919-97C8AF98B283}"/>
                  </a:ext>
                </a:extLst>
              </p:cNvPr>
              <p:cNvSpPr txBox="1"/>
              <p:nvPr/>
            </p:nvSpPr>
            <p:spPr>
              <a:xfrm>
                <a:off x="9929193" y="3489394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74EE4173-6302-2E91-D919-97C8AF98B2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29193" y="3489394"/>
                <a:ext cx="454099" cy="256480"/>
              </a:xfrm>
              <a:prstGeom prst="rect">
                <a:avLst/>
              </a:prstGeom>
              <a:blipFill>
                <a:blip r:embed="rId36"/>
                <a:stretch>
                  <a:fillRect l="-13514" t="-11905" r="-675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275C8FCA-4809-48E3-15A6-F32CCE2CDDD3}"/>
                  </a:ext>
                </a:extLst>
              </p:cNvPr>
              <p:cNvSpPr txBox="1"/>
              <p:nvPr/>
            </p:nvSpPr>
            <p:spPr>
              <a:xfrm>
                <a:off x="10426225" y="3489394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275C8FCA-4809-48E3-15A6-F32CCE2CDD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26225" y="3489394"/>
                <a:ext cx="454099" cy="256480"/>
              </a:xfrm>
              <a:prstGeom prst="rect">
                <a:avLst/>
              </a:prstGeom>
              <a:blipFill>
                <a:blip r:embed="rId37"/>
                <a:stretch>
                  <a:fillRect l="-13333" t="-11905" r="-666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68946775-C589-0CBC-EEE4-912E5E404EF2}"/>
                  </a:ext>
                </a:extLst>
              </p:cNvPr>
              <p:cNvSpPr txBox="1"/>
              <p:nvPr/>
            </p:nvSpPr>
            <p:spPr>
              <a:xfrm>
                <a:off x="10923256" y="3492521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6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68946775-C589-0CBC-EEE4-912E5E404E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23256" y="3492521"/>
                <a:ext cx="454099" cy="256480"/>
              </a:xfrm>
              <a:prstGeom prst="rect">
                <a:avLst/>
              </a:prstGeom>
              <a:blipFill>
                <a:blip r:embed="rId38"/>
                <a:stretch>
                  <a:fillRect l="-13514" t="-14286" r="-675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E9E5E955-4119-33AF-02F3-42FE4B577947}"/>
                  </a:ext>
                </a:extLst>
              </p:cNvPr>
              <p:cNvSpPr txBox="1"/>
              <p:nvPr/>
            </p:nvSpPr>
            <p:spPr>
              <a:xfrm>
                <a:off x="7941065" y="2613381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,1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E9E5E955-4119-33AF-02F3-42FE4B5779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1065" y="2613381"/>
                <a:ext cx="460061" cy="256480"/>
              </a:xfrm>
              <a:prstGeom prst="rect">
                <a:avLst/>
              </a:prstGeom>
              <a:blipFill>
                <a:blip r:embed="rId39"/>
                <a:stretch>
                  <a:fillRect l="-13333" t="-14286" r="-666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B88D76FE-1087-C232-8E93-4E9224397C9B}"/>
                  </a:ext>
                </a:extLst>
              </p:cNvPr>
              <p:cNvSpPr txBox="1"/>
              <p:nvPr/>
            </p:nvSpPr>
            <p:spPr>
              <a:xfrm>
                <a:off x="8438097" y="2613381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B88D76FE-1087-C232-8E93-4E9224397C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38097" y="2613381"/>
                <a:ext cx="460061" cy="256480"/>
              </a:xfrm>
              <a:prstGeom prst="rect">
                <a:avLst/>
              </a:prstGeom>
              <a:blipFill>
                <a:blip r:embed="rId40"/>
                <a:stretch>
                  <a:fillRect l="-13158" t="-14286" r="-6579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7C824DCC-0E91-AE03-D252-22777A4D3D7B}"/>
                  </a:ext>
                </a:extLst>
              </p:cNvPr>
              <p:cNvSpPr txBox="1"/>
              <p:nvPr/>
            </p:nvSpPr>
            <p:spPr>
              <a:xfrm>
                <a:off x="8935129" y="2613381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7C824DCC-0E91-AE03-D252-22777A4D3D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35129" y="2613381"/>
                <a:ext cx="460061" cy="256480"/>
              </a:xfrm>
              <a:prstGeom prst="rect">
                <a:avLst/>
              </a:prstGeom>
              <a:blipFill>
                <a:blip r:embed="rId41"/>
                <a:stretch>
                  <a:fillRect l="-13333" t="-14286" r="-666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9CE71AA0-5223-1252-87EB-74FAB2BC7334}"/>
                  </a:ext>
                </a:extLst>
              </p:cNvPr>
              <p:cNvSpPr txBox="1"/>
              <p:nvPr/>
            </p:nvSpPr>
            <p:spPr>
              <a:xfrm>
                <a:off x="9432161" y="2613381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9CE71AA0-5223-1252-87EB-74FAB2BC73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2161" y="2613381"/>
                <a:ext cx="460061" cy="256480"/>
              </a:xfrm>
              <a:prstGeom prst="rect">
                <a:avLst/>
              </a:prstGeom>
              <a:blipFill>
                <a:blip r:embed="rId42"/>
                <a:stretch>
                  <a:fillRect l="-13158" t="-14286" r="-5263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91BC6CB9-184F-62D4-B6B1-DB3C532D383A}"/>
                  </a:ext>
                </a:extLst>
              </p:cNvPr>
              <p:cNvSpPr txBox="1"/>
              <p:nvPr/>
            </p:nvSpPr>
            <p:spPr>
              <a:xfrm>
                <a:off x="9929193" y="2613381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91BC6CB9-184F-62D4-B6B1-DB3C532D3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29193" y="2613381"/>
                <a:ext cx="460061" cy="256480"/>
              </a:xfrm>
              <a:prstGeom prst="rect">
                <a:avLst/>
              </a:prstGeom>
              <a:blipFill>
                <a:blip r:embed="rId43"/>
                <a:stretch>
                  <a:fillRect l="-13333" t="-14286" r="-666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EB6EA6F6-D2A7-FDB0-A628-43392FDD636C}"/>
                  </a:ext>
                </a:extLst>
              </p:cNvPr>
              <p:cNvSpPr txBox="1"/>
              <p:nvPr/>
            </p:nvSpPr>
            <p:spPr>
              <a:xfrm>
                <a:off x="10426225" y="2613381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EB6EA6F6-D2A7-FDB0-A628-43392FDD6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26225" y="2613381"/>
                <a:ext cx="460061" cy="256480"/>
              </a:xfrm>
              <a:prstGeom prst="rect">
                <a:avLst/>
              </a:prstGeom>
              <a:blipFill>
                <a:blip r:embed="rId44"/>
                <a:stretch>
                  <a:fillRect l="-13158" t="-14286" r="-6579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353F1164-95D6-0CB2-E7B1-C53AA693D686}"/>
                  </a:ext>
                </a:extLst>
              </p:cNvPr>
              <p:cNvSpPr txBox="1"/>
              <p:nvPr/>
            </p:nvSpPr>
            <p:spPr>
              <a:xfrm>
                <a:off x="10923256" y="2616508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353F1164-95D6-0CB2-E7B1-C53AA693D6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23256" y="2616508"/>
                <a:ext cx="460061" cy="256480"/>
              </a:xfrm>
              <a:prstGeom prst="rect">
                <a:avLst/>
              </a:prstGeom>
              <a:blipFill>
                <a:blip r:embed="rId45"/>
                <a:stretch>
                  <a:fillRect l="-13333" t="-14286" r="-666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2D04BB59-DFF7-AFD3-F206-CEC814B1B86A}"/>
                  </a:ext>
                </a:extLst>
              </p:cNvPr>
              <p:cNvSpPr txBox="1"/>
              <p:nvPr/>
            </p:nvSpPr>
            <p:spPr>
              <a:xfrm>
                <a:off x="7941065" y="3049824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,1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2D04BB59-DFF7-AFD3-F206-CEC814B1B8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1065" y="3049824"/>
                <a:ext cx="460061" cy="256480"/>
              </a:xfrm>
              <a:prstGeom prst="rect">
                <a:avLst/>
              </a:prstGeom>
              <a:blipFill>
                <a:blip r:embed="rId46"/>
                <a:stretch>
                  <a:fillRect l="-13333" t="-11905" r="-666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2BF4B121-F336-4A7E-EC17-9838DC0FA279}"/>
                  </a:ext>
                </a:extLst>
              </p:cNvPr>
              <p:cNvSpPr txBox="1"/>
              <p:nvPr/>
            </p:nvSpPr>
            <p:spPr>
              <a:xfrm>
                <a:off x="8438097" y="3049824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2BF4B121-F336-4A7E-EC17-9838DC0FA2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38097" y="3049824"/>
                <a:ext cx="460061" cy="256480"/>
              </a:xfrm>
              <a:prstGeom prst="rect">
                <a:avLst/>
              </a:prstGeom>
              <a:blipFill>
                <a:blip r:embed="rId47"/>
                <a:stretch>
                  <a:fillRect l="-13158" t="-11905" r="-6579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6" name="TextBox 165">
                <a:extLst>
                  <a:ext uri="{FF2B5EF4-FFF2-40B4-BE49-F238E27FC236}">
                    <a16:creationId xmlns:a16="http://schemas.microsoft.com/office/drawing/2014/main" id="{BA677841-B356-F74D-E806-522024BF0001}"/>
                  </a:ext>
                </a:extLst>
              </p:cNvPr>
              <p:cNvSpPr txBox="1"/>
              <p:nvPr/>
            </p:nvSpPr>
            <p:spPr>
              <a:xfrm>
                <a:off x="8935129" y="3049824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6" name="TextBox 165">
                <a:extLst>
                  <a:ext uri="{FF2B5EF4-FFF2-40B4-BE49-F238E27FC236}">
                    <a16:creationId xmlns:a16="http://schemas.microsoft.com/office/drawing/2014/main" id="{BA677841-B356-F74D-E806-522024BF00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35129" y="3049824"/>
                <a:ext cx="460061" cy="256480"/>
              </a:xfrm>
              <a:prstGeom prst="rect">
                <a:avLst/>
              </a:prstGeom>
              <a:blipFill>
                <a:blip r:embed="rId48"/>
                <a:stretch>
                  <a:fillRect l="-13333" t="-11905" r="-666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19095A2A-2994-86BF-5D99-75502B6B01F4}"/>
                  </a:ext>
                </a:extLst>
              </p:cNvPr>
              <p:cNvSpPr txBox="1"/>
              <p:nvPr/>
            </p:nvSpPr>
            <p:spPr>
              <a:xfrm>
                <a:off x="9432161" y="3049824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19095A2A-2994-86BF-5D99-75502B6B01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32161" y="3049824"/>
                <a:ext cx="460061" cy="256480"/>
              </a:xfrm>
              <a:prstGeom prst="rect">
                <a:avLst/>
              </a:prstGeom>
              <a:blipFill>
                <a:blip r:embed="rId49"/>
                <a:stretch>
                  <a:fillRect l="-13158" t="-11905" r="-5263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A691CCAB-4704-48E7-799F-94F6429F12CE}"/>
                  </a:ext>
                </a:extLst>
              </p:cNvPr>
              <p:cNvSpPr txBox="1"/>
              <p:nvPr/>
            </p:nvSpPr>
            <p:spPr>
              <a:xfrm>
                <a:off x="9929193" y="3049824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A691CCAB-4704-48E7-799F-94F6429F12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29193" y="3049824"/>
                <a:ext cx="460061" cy="256480"/>
              </a:xfrm>
              <a:prstGeom prst="rect">
                <a:avLst/>
              </a:prstGeom>
              <a:blipFill>
                <a:blip r:embed="rId50"/>
                <a:stretch>
                  <a:fillRect l="-13333" t="-11905" r="-666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4B1195B3-D54D-B1C2-E74C-75E98707F57D}"/>
                  </a:ext>
                </a:extLst>
              </p:cNvPr>
              <p:cNvSpPr txBox="1"/>
              <p:nvPr/>
            </p:nvSpPr>
            <p:spPr>
              <a:xfrm>
                <a:off x="10426225" y="3049824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4B1195B3-D54D-B1C2-E74C-75E98707F5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26225" y="3049824"/>
                <a:ext cx="460061" cy="256480"/>
              </a:xfrm>
              <a:prstGeom prst="rect">
                <a:avLst/>
              </a:prstGeom>
              <a:blipFill>
                <a:blip r:embed="rId51"/>
                <a:stretch>
                  <a:fillRect l="-13158" t="-11905" r="-6579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572794D9-F4DE-0F60-3AC7-3EAA85CF1AD0}"/>
                  </a:ext>
                </a:extLst>
              </p:cNvPr>
              <p:cNvSpPr txBox="1"/>
              <p:nvPr/>
            </p:nvSpPr>
            <p:spPr>
              <a:xfrm>
                <a:off x="10923256" y="3052951"/>
                <a:ext cx="46006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572794D9-F4DE-0F60-3AC7-3EAA85CF1A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923256" y="3052951"/>
                <a:ext cx="460061" cy="256480"/>
              </a:xfrm>
              <a:prstGeom prst="rect">
                <a:avLst/>
              </a:prstGeom>
              <a:blipFill>
                <a:blip r:embed="rId52"/>
                <a:stretch>
                  <a:fillRect l="-13333" t="-14286" r="-6667" b="-190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1" name="TextBox 170">
            <a:extLst>
              <a:ext uri="{FF2B5EF4-FFF2-40B4-BE49-F238E27FC236}">
                <a16:creationId xmlns:a16="http://schemas.microsoft.com/office/drawing/2014/main" id="{8A6D8F2B-BD57-63BD-260B-0BF78EDB8D8A}"/>
              </a:ext>
            </a:extLst>
          </p:cNvPr>
          <p:cNvSpPr txBox="1"/>
          <p:nvPr/>
        </p:nvSpPr>
        <p:spPr>
          <a:xfrm>
            <a:off x="8911617" y="1728574"/>
            <a:ext cx="1501148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gits Matrix</a:t>
            </a: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5D29A7A9-ABD9-1DEF-3AF8-5CDE4B6A8F4B}"/>
              </a:ext>
            </a:extLst>
          </p:cNvPr>
          <p:cNvGrpSpPr/>
          <p:nvPr/>
        </p:nvGrpSpPr>
        <p:grpSpPr>
          <a:xfrm>
            <a:off x="3775587" y="4308315"/>
            <a:ext cx="3600000" cy="980224"/>
            <a:chOff x="900904" y="3169218"/>
            <a:chExt cx="2235856" cy="1968876"/>
          </a:xfrm>
        </p:grpSpPr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BFAD1FE0-1B35-CE7F-785D-75AE14D25E72}"/>
                </a:ext>
              </a:extLst>
            </p:cNvPr>
            <p:cNvSpPr/>
            <p:nvPr/>
          </p:nvSpPr>
          <p:spPr>
            <a:xfrm>
              <a:off x="900904" y="3274987"/>
              <a:ext cx="2235856" cy="1811102"/>
            </a:xfrm>
            <a:prstGeom prst="rect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0326288B-AED4-6AF9-A971-57E1746D31A9}"/>
                </a:ext>
              </a:extLst>
            </p:cNvPr>
            <p:cNvSpPr/>
            <p:nvPr/>
          </p:nvSpPr>
          <p:spPr>
            <a:xfrm>
              <a:off x="1040789" y="3169218"/>
              <a:ext cx="1964485" cy="196887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8E28CE19-2ECF-B160-9526-B951217F60D2}"/>
                  </a:ext>
                </a:extLst>
              </p:cNvPr>
              <p:cNvSpPr txBox="1"/>
              <p:nvPr/>
            </p:nvSpPr>
            <p:spPr>
              <a:xfrm>
                <a:off x="3868987" y="4495271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8E28CE19-2ECF-B160-9526-B951217F60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8987" y="4495271"/>
                <a:ext cx="240450" cy="256480"/>
              </a:xfrm>
              <a:prstGeom prst="rect">
                <a:avLst/>
              </a:prstGeom>
              <a:blipFill>
                <a:blip r:embed="rId53"/>
                <a:stretch>
                  <a:fillRect l="-7692" r="-10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62C5253C-9543-611E-F48A-F12DB89FCE47}"/>
                  </a:ext>
                </a:extLst>
              </p:cNvPr>
              <p:cNvSpPr txBox="1"/>
              <p:nvPr/>
            </p:nvSpPr>
            <p:spPr>
              <a:xfrm>
                <a:off x="4352766" y="4495271"/>
                <a:ext cx="454099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altLang="zh-CN" sz="2000" i="1">
                              <a:solidFill>
                                <a:schemeClr val="tx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62C5253C-9543-611E-F48A-F12DB89FCE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2766" y="4495271"/>
                <a:ext cx="454099" cy="256480"/>
              </a:xfrm>
              <a:prstGeom prst="rect">
                <a:avLst/>
              </a:prstGeom>
              <a:blipFill>
                <a:blip r:embed="rId54"/>
                <a:stretch>
                  <a:fillRect l="-13333" t="-11905" r="-6667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84413F46-29FF-2238-0A98-F1848F88D959}"/>
                  </a:ext>
                </a:extLst>
              </p:cNvPr>
              <p:cNvSpPr txBox="1"/>
              <p:nvPr/>
            </p:nvSpPr>
            <p:spPr>
              <a:xfrm>
                <a:off x="5050195" y="4495271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84413F46-29FF-2238-0A98-F1848F88D9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50195" y="4495271"/>
                <a:ext cx="240450" cy="256480"/>
              </a:xfrm>
              <a:prstGeom prst="rect">
                <a:avLst/>
              </a:prstGeom>
              <a:blipFill>
                <a:blip r:embed="rId55"/>
                <a:stretch>
                  <a:fillRect l="-7500" r="-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5D4AAF2A-C1F4-2334-6BC5-B9C3117A64FA}"/>
                  </a:ext>
                </a:extLst>
              </p:cNvPr>
              <p:cNvSpPr txBox="1"/>
              <p:nvPr/>
            </p:nvSpPr>
            <p:spPr>
              <a:xfrm>
                <a:off x="5533975" y="4495271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5D4AAF2A-C1F4-2334-6BC5-B9C3117A64F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33975" y="4495271"/>
                <a:ext cx="240450" cy="256480"/>
              </a:xfrm>
              <a:prstGeom prst="rect">
                <a:avLst/>
              </a:prstGeom>
              <a:blipFill>
                <a:blip r:embed="rId56"/>
                <a:stretch>
                  <a:fillRect l="-7692" r="-10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A3DF6A24-912C-BD3E-4B4B-32368ABB03DE}"/>
                  </a:ext>
                </a:extLst>
              </p:cNvPr>
              <p:cNvSpPr txBox="1"/>
              <p:nvPr/>
            </p:nvSpPr>
            <p:spPr>
              <a:xfrm>
                <a:off x="6017755" y="4495271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A3DF6A24-912C-BD3E-4B4B-32368ABB03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17755" y="4495271"/>
                <a:ext cx="240450" cy="256480"/>
              </a:xfrm>
              <a:prstGeom prst="rect">
                <a:avLst/>
              </a:prstGeom>
              <a:blipFill>
                <a:blip r:embed="rId57"/>
                <a:stretch>
                  <a:fillRect l="-7500" r="-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F0EE2E42-56A1-B808-EA84-FCBEFA3A4811}"/>
                  </a:ext>
                </a:extLst>
              </p:cNvPr>
              <p:cNvSpPr txBox="1"/>
              <p:nvPr/>
            </p:nvSpPr>
            <p:spPr>
              <a:xfrm>
                <a:off x="6501535" y="4495271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F0EE2E42-56A1-B808-EA84-FCBEFA3A48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01535" y="4495271"/>
                <a:ext cx="240450" cy="256480"/>
              </a:xfrm>
              <a:prstGeom prst="rect">
                <a:avLst/>
              </a:prstGeom>
              <a:blipFill>
                <a:blip r:embed="rId58"/>
                <a:stretch>
                  <a:fillRect l="-7692" r="-10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DC0C66A3-94C2-63F2-7684-B972D00779AD}"/>
                  </a:ext>
                </a:extLst>
              </p:cNvPr>
              <p:cNvSpPr txBox="1"/>
              <p:nvPr/>
            </p:nvSpPr>
            <p:spPr>
              <a:xfrm>
                <a:off x="6985313" y="4495271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DC0C66A3-94C2-63F2-7684-B972D00779A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85313" y="4495271"/>
                <a:ext cx="240450" cy="256480"/>
              </a:xfrm>
              <a:prstGeom prst="rect">
                <a:avLst/>
              </a:prstGeom>
              <a:blipFill>
                <a:blip r:embed="rId59"/>
                <a:stretch>
                  <a:fillRect l="-7692" r="-10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3" name="Speech Bubble: Rectangle with Corners Rounded 202">
            <a:extLst>
              <a:ext uri="{FF2B5EF4-FFF2-40B4-BE49-F238E27FC236}">
                <a16:creationId xmlns:a16="http://schemas.microsoft.com/office/drawing/2014/main" id="{6B371811-5D91-0452-481D-EFEFAAF91244}"/>
              </a:ext>
            </a:extLst>
          </p:cNvPr>
          <p:cNvSpPr/>
          <p:nvPr/>
        </p:nvSpPr>
        <p:spPr>
          <a:xfrm rot="5400000">
            <a:off x="4761122" y="2668970"/>
            <a:ext cx="1617378" cy="3985048"/>
          </a:xfrm>
          <a:prstGeom prst="wedgeRoundRectCallout">
            <a:avLst>
              <a:gd name="adj1" fmla="val -44426"/>
              <a:gd name="adj2" fmla="val 65157"/>
              <a:gd name="adj3" fmla="val 16667"/>
            </a:avLst>
          </a:prstGeom>
          <a:noFill/>
          <a:ln w="28575">
            <a:solidFill>
              <a:srgbClr val="D5E8D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4" name="TextBox 203">
                <a:extLst>
                  <a:ext uri="{FF2B5EF4-FFF2-40B4-BE49-F238E27FC236}">
                    <a16:creationId xmlns:a16="http://schemas.microsoft.com/office/drawing/2014/main" id="{10D1241B-6910-2B34-6871-5D47D840D686}"/>
                  </a:ext>
                </a:extLst>
              </p:cNvPr>
              <p:cNvSpPr txBox="1"/>
              <p:nvPr/>
            </p:nvSpPr>
            <p:spPr>
              <a:xfrm>
                <a:off x="3865271" y="4890874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04" name="TextBox 203">
                <a:extLst>
                  <a:ext uri="{FF2B5EF4-FFF2-40B4-BE49-F238E27FC236}">
                    <a16:creationId xmlns:a16="http://schemas.microsoft.com/office/drawing/2014/main" id="{10D1241B-6910-2B34-6871-5D47D840D6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5271" y="4890874"/>
                <a:ext cx="240450" cy="256480"/>
              </a:xfrm>
              <a:prstGeom prst="rect">
                <a:avLst/>
              </a:prstGeom>
              <a:blipFill>
                <a:blip r:embed="rId60"/>
                <a:stretch>
                  <a:fillRect l="-7500" r="-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C60BF88C-8234-6C98-3827-E35EC1274053}"/>
                  </a:ext>
                </a:extLst>
              </p:cNvPr>
              <p:cNvSpPr txBox="1"/>
              <p:nvPr/>
            </p:nvSpPr>
            <p:spPr>
              <a:xfrm>
                <a:off x="4307695" y="4890874"/>
                <a:ext cx="54021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en-US" sz="2000" b="0" i="0" smtClean="0">
                          <a:latin typeface="Cambria Math" panose="02040503050406030204" pitchFamily="18" charset="0"/>
                        </a:rPr>
                        <m:t>inf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C60BF88C-8234-6C98-3827-E35EC127405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07695" y="4890874"/>
                <a:ext cx="540211" cy="256480"/>
              </a:xfrm>
              <a:prstGeom prst="rect">
                <a:avLst/>
              </a:prstGeom>
              <a:blipFill>
                <a:blip r:embed="rId61"/>
                <a:stretch>
                  <a:fillRect l="-3409" t="-11905" r="-12500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D7CBCF9E-C040-451C-5AF6-0FB9FB37CC7E}"/>
                  </a:ext>
                </a:extLst>
              </p:cNvPr>
              <p:cNvSpPr txBox="1"/>
              <p:nvPr/>
            </p:nvSpPr>
            <p:spPr>
              <a:xfrm>
                <a:off x="5046479" y="4890874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D7CBCF9E-C040-451C-5AF6-0FB9FB37CC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46479" y="4890874"/>
                <a:ext cx="240450" cy="256480"/>
              </a:xfrm>
              <a:prstGeom prst="rect">
                <a:avLst/>
              </a:prstGeom>
              <a:blipFill>
                <a:blip r:embed="rId62"/>
                <a:stretch>
                  <a:fillRect l="-7692" r="-10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7" name="TextBox 206">
                <a:extLst>
                  <a:ext uri="{FF2B5EF4-FFF2-40B4-BE49-F238E27FC236}">
                    <a16:creationId xmlns:a16="http://schemas.microsoft.com/office/drawing/2014/main" id="{4989D2F4-281C-1E6C-0354-D2A9F467668E}"/>
                  </a:ext>
                </a:extLst>
              </p:cNvPr>
              <p:cNvSpPr txBox="1"/>
              <p:nvPr/>
            </p:nvSpPr>
            <p:spPr>
              <a:xfrm>
                <a:off x="5530259" y="4890874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207" name="TextBox 206">
                <a:extLst>
                  <a:ext uri="{FF2B5EF4-FFF2-40B4-BE49-F238E27FC236}">
                    <a16:creationId xmlns:a16="http://schemas.microsoft.com/office/drawing/2014/main" id="{4989D2F4-281C-1E6C-0354-D2A9F46766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30259" y="4890874"/>
                <a:ext cx="240450" cy="256480"/>
              </a:xfrm>
              <a:prstGeom prst="rect">
                <a:avLst/>
              </a:prstGeom>
              <a:blipFill>
                <a:blip r:embed="rId63"/>
                <a:stretch>
                  <a:fillRect l="-7500" r="-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8" name="TextBox 207">
                <a:extLst>
                  <a:ext uri="{FF2B5EF4-FFF2-40B4-BE49-F238E27FC236}">
                    <a16:creationId xmlns:a16="http://schemas.microsoft.com/office/drawing/2014/main" id="{50D21C24-04D5-FBB0-28E2-B47ED6ED9195}"/>
                  </a:ext>
                </a:extLst>
              </p:cNvPr>
              <p:cNvSpPr txBox="1"/>
              <p:nvPr/>
            </p:nvSpPr>
            <p:spPr>
              <a:xfrm>
                <a:off x="6014039" y="4890874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208" name="TextBox 207">
                <a:extLst>
                  <a:ext uri="{FF2B5EF4-FFF2-40B4-BE49-F238E27FC236}">
                    <a16:creationId xmlns:a16="http://schemas.microsoft.com/office/drawing/2014/main" id="{50D21C24-04D5-FBB0-28E2-B47ED6ED91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14039" y="4890874"/>
                <a:ext cx="240450" cy="256480"/>
              </a:xfrm>
              <a:prstGeom prst="rect">
                <a:avLst/>
              </a:prstGeom>
              <a:blipFill>
                <a:blip r:embed="rId64"/>
                <a:stretch>
                  <a:fillRect l="-7692" r="-10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9" name="TextBox 208">
                <a:extLst>
                  <a:ext uri="{FF2B5EF4-FFF2-40B4-BE49-F238E27FC236}">
                    <a16:creationId xmlns:a16="http://schemas.microsoft.com/office/drawing/2014/main" id="{4F5E4D9E-F358-7BC2-E472-E58019E52F4A}"/>
                  </a:ext>
                </a:extLst>
              </p:cNvPr>
              <p:cNvSpPr txBox="1"/>
              <p:nvPr/>
            </p:nvSpPr>
            <p:spPr>
              <a:xfrm>
                <a:off x="6497819" y="4890874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209" name="TextBox 208">
                <a:extLst>
                  <a:ext uri="{FF2B5EF4-FFF2-40B4-BE49-F238E27FC236}">
                    <a16:creationId xmlns:a16="http://schemas.microsoft.com/office/drawing/2014/main" id="{4F5E4D9E-F358-7BC2-E472-E58019E52F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97819" y="4890874"/>
                <a:ext cx="240450" cy="256480"/>
              </a:xfrm>
              <a:prstGeom prst="rect">
                <a:avLst/>
              </a:prstGeom>
              <a:blipFill>
                <a:blip r:embed="rId65"/>
                <a:stretch>
                  <a:fillRect l="-7692" r="-102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0" name="TextBox 209">
                <a:extLst>
                  <a:ext uri="{FF2B5EF4-FFF2-40B4-BE49-F238E27FC236}">
                    <a16:creationId xmlns:a16="http://schemas.microsoft.com/office/drawing/2014/main" id="{FD66D1AD-A39B-64C3-48AF-BD1F2C9F17AE}"/>
                  </a:ext>
                </a:extLst>
              </p:cNvPr>
              <p:cNvSpPr txBox="1"/>
              <p:nvPr/>
            </p:nvSpPr>
            <p:spPr>
              <a:xfrm>
                <a:off x="6981597" y="4890874"/>
                <a:ext cx="240450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altLang="zh-CN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~</m:t>
                      </m:r>
                    </m:oMath>
                  </m:oMathPara>
                </a14:m>
                <a:endParaRPr lang="en-US" altLang="zh-CN" sz="2000" dirty="0"/>
              </a:p>
            </p:txBody>
          </p:sp>
        </mc:Choice>
        <mc:Fallback xmlns="">
          <p:sp>
            <p:nvSpPr>
              <p:cNvPr id="210" name="TextBox 209">
                <a:extLst>
                  <a:ext uri="{FF2B5EF4-FFF2-40B4-BE49-F238E27FC236}">
                    <a16:creationId xmlns:a16="http://schemas.microsoft.com/office/drawing/2014/main" id="{FD66D1AD-A39B-64C3-48AF-BD1F2C9F17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81597" y="4890874"/>
                <a:ext cx="240450" cy="256480"/>
              </a:xfrm>
              <a:prstGeom prst="rect">
                <a:avLst/>
              </a:prstGeom>
              <a:blipFill>
                <a:blip r:embed="rId66"/>
                <a:stretch>
                  <a:fillRect l="-7500" r="-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1" name="TextBox 210">
            <a:extLst>
              <a:ext uri="{FF2B5EF4-FFF2-40B4-BE49-F238E27FC236}">
                <a16:creationId xmlns:a16="http://schemas.microsoft.com/office/drawing/2014/main" id="{021FF4C6-B054-282C-F249-18A454D8EF6C}"/>
              </a:ext>
            </a:extLst>
          </p:cNvPr>
          <p:cNvSpPr txBox="1"/>
          <p:nvPr/>
        </p:nvSpPr>
        <p:spPr>
          <a:xfrm>
            <a:off x="4890726" y="3941919"/>
            <a:ext cx="1370430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sk Matrix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545191B-24A9-0FDD-BF45-DFB71107246C}"/>
                  </a:ext>
                </a:extLst>
              </p:cNvPr>
              <p:cNvSpPr txBox="1"/>
              <p:nvPr/>
            </p:nvSpPr>
            <p:spPr>
              <a:xfrm>
                <a:off x="7847664" y="4476488"/>
                <a:ext cx="3529691" cy="27263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:r>
                  <a:rPr 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Trainable Parameters of </a:t>
                </a:r>
                <a14:m>
                  <m:oMath xmlns:m="http://schemas.openxmlformats.org/officeDocument/2006/math">
                    <m:r>
                      <a:rPr lang="en-US" sz="2400" b="1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𝐒</m:t>
                    </m:r>
                  </m:oMath>
                </a14:m>
                <a:r>
                  <a:rPr lang="en-US" sz="2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: 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545191B-24A9-0FDD-BF45-DFB7110724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47664" y="4476488"/>
                <a:ext cx="3529691" cy="272639"/>
              </a:xfrm>
              <a:prstGeom prst="rect">
                <a:avLst/>
              </a:prstGeom>
              <a:blipFill>
                <a:blip r:embed="rId67"/>
                <a:stretch>
                  <a:fillRect l="-5181" t="-68889" b="-6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EA3E478-5EFD-66E2-8290-D6BB883A3685}"/>
                  </a:ext>
                </a:extLst>
              </p:cNvPr>
              <p:cNvSpPr txBox="1"/>
              <p:nvPr/>
            </p:nvSpPr>
            <p:spPr>
              <a:xfrm>
                <a:off x="7967871" y="5030923"/>
                <a:ext cx="360000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4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40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sub>
                      </m:sSub>
                      <m:sSub>
                        <m:sSubPr>
                          <m:ctrlP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4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  <m:sSub>
                        <m:sSubPr>
                          <m:ctrlP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4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F</m:t>
                          </m:r>
                        </m:sub>
                      </m:sSub>
                      <m:r>
                        <a:rPr lang="en-US" altLang="zh-CN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40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T</m:t>
                          </m:r>
                        </m:sub>
                      </m:sSub>
                      <m:sSub>
                        <m:sSubPr>
                          <m:ctrlP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4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  <m:sSub>
                        <m:sSubPr>
                          <m:ctrlP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altLang="zh-CN" sz="24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F</m:t>
                          </m:r>
                        </m:sub>
                      </m:sSub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EA3E478-5EFD-66E2-8290-D6BB883A368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7871" y="5030923"/>
                <a:ext cx="3600000" cy="461665"/>
              </a:xfrm>
              <a:prstGeom prst="rect">
                <a:avLst/>
              </a:prstGeom>
              <a:blipFill>
                <a:blip r:embed="rId68"/>
                <a:stretch>
                  <a:fillRect b="-26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264023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9" fill="hold">
                      <p:stCondLst>
                        <p:cond delay="indefinite"/>
                      </p:stCondLst>
                      <p:childTnLst>
                        <p:par>
                          <p:cTn id="180" fill="hold">
                            <p:stCondLst>
                              <p:cond delay="0"/>
                            </p:stCondLst>
                            <p:childTnLst>
                              <p:par>
                                <p:cTn id="1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  <p:bldP spid="16" grpId="0"/>
      <p:bldP spid="17" grpId="0"/>
      <p:bldP spid="45" grpId="0"/>
      <p:bldP spid="46" grpId="0"/>
      <p:bldP spid="47" grpId="0"/>
      <p:bldP spid="48" grpId="0"/>
      <p:bldP spid="49" grpId="0"/>
      <p:bldP spid="50" grpId="0"/>
      <p:bldP spid="51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 animBg="1"/>
      <p:bldP spid="63" grpId="0" animBg="1"/>
      <p:bldP spid="67" grpId="0"/>
      <p:bldP spid="68" grpId="0"/>
      <p:bldP spid="73" grpId="0" animBg="1"/>
      <p:bldP spid="74" grpId="0"/>
      <p:bldP spid="75" grpId="0" animBg="1"/>
      <p:bldP spid="76" grpId="0"/>
      <p:bldP spid="121" grpId="0" animBg="1"/>
      <p:bldP spid="122" grpId="0"/>
      <p:bldP spid="123" grpId="0"/>
      <p:bldP spid="124" grpId="0"/>
      <p:bldP spid="125" grpId="0"/>
      <p:bldP spid="126" grpId="0"/>
      <p:bldP spid="127" grpId="0"/>
      <p:bldP spid="128" grpId="0"/>
      <p:bldP spid="150" grpId="0"/>
      <p:bldP spid="151" grpId="0"/>
      <p:bldP spid="152" grpId="0"/>
      <p:bldP spid="153" grpId="0"/>
      <p:bldP spid="154" grpId="0"/>
      <p:bldP spid="155" grpId="0"/>
      <p:bldP spid="156" grpId="0"/>
      <p:bldP spid="157" grpId="0"/>
      <p:bldP spid="158" grpId="0"/>
      <p:bldP spid="159" grpId="0"/>
      <p:bldP spid="160" grpId="0"/>
      <p:bldP spid="161" grpId="0"/>
      <p:bldP spid="162" grpId="0"/>
      <p:bldP spid="163" grpId="0"/>
      <p:bldP spid="164" grpId="0"/>
      <p:bldP spid="165" grpId="0"/>
      <p:bldP spid="166" grpId="0"/>
      <p:bldP spid="167" grpId="0"/>
      <p:bldP spid="168" grpId="0"/>
      <p:bldP spid="169" grpId="0"/>
      <p:bldP spid="170" grpId="0"/>
      <p:bldP spid="171" grpId="0"/>
      <p:bldP spid="175" grpId="0"/>
      <p:bldP spid="176" grpId="0"/>
      <p:bldP spid="177" grpId="0"/>
      <p:bldP spid="178" grpId="0"/>
      <p:bldP spid="179" grpId="0"/>
      <p:bldP spid="180" grpId="0"/>
      <p:bldP spid="181" grpId="0"/>
      <p:bldP spid="203" grpId="0" animBg="1"/>
      <p:bldP spid="204" grpId="0"/>
      <p:bldP spid="205" grpId="0"/>
      <p:bldP spid="206" grpId="0"/>
      <p:bldP spid="207" grpId="0"/>
      <p:bldP spid="208" grpId="0"/>
      <p:bldP spid="209" grpId="0"/>
      <p:bldP spid="210" grpId="0"/>
      <p:bldP spid="211" grpId="0"/>
      <p:bldP spid="7" grpId="0"/>
      <p:bldP spid="1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35DFDE99-5855-776D-6269-91383AA30639}"/>
              </a:ext>
            </a:extLst>
          </p:cNvPr>
          <p:cNvSpPr/>
          <p:nvPr/>
        </p:nvSpPr>
        <p:spPr>
          <a:xfrm>
            <a:off x="5651552" y="1711533"/>
            <a:ext cx="5252983" cy="106884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B14E5A-7604-016B-3B8E-78D7C473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Joint Deep Probabilistic Subsampling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CB3885-A04F-3BE5-555A-00895493C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4683FF-BD5F-8E51-6377-677450FDA9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8573A9-F07F-BD2F-AB92-BE98119790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742F4A-AAC4-0B05-F147-A5CF197CF4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Network Architecture</a:t>
            </a:r>
            <a:r>
              <a:rPr lang="de-DE" dirty="0"/>
              <a:t>: </a:t>
            </a:r>
            <a:r>
              <a:rPr lang="en-US" dirty="0"/>
              <a:t>From Logits to Selection Vector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4959D82-58DF-6F02-E356-E13880779F4A}"/>
              </a:ext>
            </a:extLst>
          </p:cNvPr>
          <p:cNvGrpSpPr/>
          <p:nvPr/>
        </p:nvGrpSpPr>
        <p:grpSpPr>
          <a:xfrm>
            <a:off x="1741443" y="1700213"/>
            <a:ext cx="2235856" cy="1880048"/>
            <a:chOff x="900904" y="3258046"/>
            <a:chExt cx="2235856" cy="188004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5C23A22-01E5-9AA8-73CF-BFEF4715AF9C}"/>
                </a:ext>
              </a:extLst>
            </p:cNvPr>
            <p:cNvSpPr/>
            <p:nvPr/>
          </p:nvSpPr>
          <p:spPr>
            <a:xfrm>
              <a:off x="900904" y="3274987"/>
              <a:ext cx="2235856" cy="1811102"/>
            </a:xfrm>
            <a:prstGeom prst="rect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4BF7ED6-94F2-1EA0-71E4-93E81C920C66}"/>
                </a:ext>
              </a:extLst>
            </p:cNvPr>
            <p:cNvSpPr/>
            <p:nvPr/>
          </p:nvSpPr>
          <p:spPr>
            <a:xfrm>
              <a:off x="1040789" y="3258046"/>
              <a:ext cx="1964485" cy="188004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E706D4A-3D5E-21D6-BDAA-781E6CB17099}"/>
                  </a:ext>
                </a:extLst>
              </p:cNvPr>
              <p:cNvSpPr txBox="1"/>
              <p:nvPr/>
            </p:nvSpPr>
            <p:spPr>
              <a:xfrm>
                <a:off x="1846088" y="188062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E706D4A-3D5E-21D6-BDAA-781E6CB170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6088" y="1880620"/>
                <a:ext cx="200376" cy="256480"/>
              </a:xfrm>
              <a:prstGeom prst="rect">
                <a:avLst/>
              </a:prstGeom>
              <a:blipFill>
                <a:blip r:embed="rId2"/>
                <a:stretch>
                  <a:fillRect l="-30303" t="-11905" r="-2727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8829506-DFE5-3753-FB72-6576F8316B7C}"/>
                  </a:ext>
                </a:extLst>
              </p:cNvPr>
              <p:cNvSpPr txBox="1"/>
              <p:nvPr/>
            </p:nvSpPr>
            <p:spPr>
              <a:xfrm>
                <a:off x="2154039" y="188062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8829506-DFE5-3753-FB72-6576F8316B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039" y="1880620"/>
                <a:ext cx="200376" cy="256480"/>
              </a:xfrm>
              <a:prstGeom prst="rect">
                <a:avLst/>
              </a:prstGeom>
              <a:blipFill>
                <a:blip r:embed="rId3"/>
                <a:stretch>
                  <a:fillRect l="-27273" t="-11905" r="-3030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7F1B658-5B9C-EDFF-F1A6-F46D3534A4D2}"/>
                  </a:ext>
                </a:extLst>
              </p:cNvPr>
              <p:cNvSpPr txBox="1"/>
              <p:nvPr/>
            </p:nvSpPr>
            <p:spPr>
              <a:xfrm>
                <a:off x="2461990" y="188062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7F1B658-5B9C-EDFF-F1A6-F46D3534A4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1990" y="1880620"/>
                <a:ext cx="200376" cy="256480"/>
              </a:xfrm>
              <a:prstGeom prst="rect">
                <a:avLst/>
              </a:prstGeom>
              <a:blipFill>
                <a:blip r:embed="rId4"/>
                <a:stretch>
                  <a:fillRect l="-30303" t="-11905" r="-2727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734964E-0DB6-D983-482C-DB7B63387FB9}"/>
                  </a:ext>
                </a:extLst>
              </p:cNvPr>
              <p:cNvSpPr txBox="1"/>
              <p:nvPr/>
            </p:nvSpPr>
            <p:spPr>
              <a:xfrm>
                <a:off x="2769941" y="188062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734964E-0DB6-D983-482C-DB7B63387F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69941" y="1880620"/>
                <a:ext cx="200376" cy="256480"/>
              </a:xfrm>
              <a:prstGeom prst="rect">
                <a:avLst/>
              </a:prstGeom>
              <a:blipFill>
                <a:blip r:embed="rId5"/>
                <a:stretch>
                  <a:fillRect l="-27273" t="-11905" r="-3030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4C393AD-E82F-3B98-12AA-D0C20E1ABAD5}"/>
                  </a:ext>
                </a:extLst>
              </p:cNvPr>
              <p:cNvSpPr txBox="1"/>
              <p:nvPr/>
            </p:nvSpPr>
            <p:spPr>
              <a:xfrm>
                <a:off x="3077892" y="188062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4C393AD-E82F-3B98-12AA-D0C20E1ABA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7892" y="1880620"/>
                <a:ext cx="200376" cy="256480"/>
              </a:xfrm>
              <a:prstGeom prst="rect">
                <a:avLst/>
              </a:prstGeom>
              <a:blipFill>
                <a:blip r:embed="rId6"/>
                <a:stretch>
                  <a:fillRect l="-30303" t="-11905" r="-2727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EB7E4B92-DA8F-A461-1B17-AA3D1667795E}"/>
                  </a:ext>
                </a:extLst>
              </p:cNvPr>
              <p:cNvSpPr txBox="1"/>
              <p:nvPr/>
            </p:nvSpPr>
            <p:spPr>
              <a:xfrm>
                <a:off x="3385843" y="188062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EB7E4B92-DA8F-A461-1B17-AA3D1667795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5843" y="1880620"/>
                <a:ext cx="200376" cy="256480"/>
              </a:xfrm>
              <a:prstGeom prst="rect">
                <a:avLst/>
              </a:prstGeom>
              <a:blipFill>
                <a:blip r:embed="rId7"/>
                <a:stretch>
                  <a:fillRect l="-27273" t="-11905" r="-3030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5992DF8-9FD5-7B2F-0331-A8D86D4E444A}"/>
                  </a:ext>
                </a:extLst>
              </p:cNvPr>
              <p:cNvSpPr txBox="1"/>
              <p:nvPr/>
            </p:nvSpPr>
            <p:spPr>
              <a:xfrm>
                <a:off x="3693794" y="188062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55992DF8-9FD5-7B2F-0331-A8D86D4E44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3794" y="1880620"/>
                <a:ext cx="200376" cy="256480"/>
              </a:xfrm>
              <a:prstGeom prst="rect">
                <a:avLst/>
              </a:prstGeom>
              <a:blipFill>
                <a:blip r:embed="rId8"/>
                <a:stretch>
                  <a:fillRect l="-30303" t="-11905" r="-27273"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D85EA24-9272-7271-BC07-CDCAF0A4011A}"/>
                  </a:ext>
                </a:extLst>
              </p:cNvPr>
              <p:cNvSpPr txBox="1"/>
              <p:nvPr/>
            </p:nvSpPr>
            <p:spPr>
              <a:xfrm>
                <a:off x="1846088" y="229466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D85EA24-9272-7271-BC07-CDCAF0A401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6088" y="2294660"/>
                <a:ext cx="200376" cy="256480"/>
              </a:xfrm>
              <a:prstGeom prst="rect">
                <a:avLst/>
              </a:prstGeom>
              <a:blipFill>
                <a:blip r:embed="rId9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522F14A-1D75-40CC-6D2F-12EAE2719DB0}"/>
                  </a:ext>
                </a:extLst>
              </p:cNvPr>
              <p:cNvSpPr txBox="1"/>
              <p:nvPr/>
            </p:nvSpPr>
            <p:spPr>
              <a:xfrm>
                <a:off x="2154039" y="229822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522F14A-1D75-40CC-6D2F-12EAE2719D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039" y="2298228"/>
                <a:ext cx="200376" cy="256480"/>
              </a:xfrm>
              <a:prstGeom prst="rect">
                <a:avLst/>
              </a:prstGeom>
              <a:blipFill>
                <a:blip r:embed="rId10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964A57C2-656E-52F7-4B8C-DE3D60561C35}"/>
                  </a:ext>
                </a:extLst>
              </p:cNvPr>
              <p:cNvSpPr txBox="1"/>
              <p:nvPr/>
            </p:nvSpPr>
            <p:spPr>
              <a:xfrm>
                <a:off x="2461990" y="229822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964A57C2-656E-52F7-4B8C-DE3D60561C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1990" y="2298228"/>
                <a:ext cx="200376" cy="256480"/>
              </a:xfrm>
              <a:prstGeom prst="rect">
                <a:avLst/>
              </a:prstGeom>
              <a:blipFill>
                <a:blip r:embed="rId11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142A4DE-C317-D756-F5AB-8F35E0236D6B}"/>
                  </a:ext>
                </a:extLst>
              </p:cNvPr>
              <p:cNvSpPr txBox="1"/>
              <p:nvPr/>
            </p:nvSpPr>
            <p:spPr>
              <a:xfrm>
                <a:off x="2769941" y="229822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142A4DE-C317-D756-F5AB-8F35E0236D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69941" y="2298228"/>
                <a:ext cx="200376" cy="256480"/>
              </a:xfrm>
              <a:prstGeom prst="rect">
                <a:avLst/>
              </a:prstGeom>
              <a:blipFill>
                <a:blip r:embed="rId12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7EDF85C-BA51-3A4D-909E-C27331C1DBAE}"/>
                  </a:ext>
                </a:extLst>
              </p:cNvPr>
              <p:cNvSpPr txBox="1"/>
              <p:nvPr/>
            </p:nvSpPr>
            <p:spPr>
              <a:xfrm>
                <a:off x="3077892" y="229822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7EDF85C-BA51-3A4D-909E-C27331C1DB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7892" y="2298228"/>
                <a:ext cx="200376" cy="256480"/>
              </a:xfrm>
              <a:prstGeom prst="rect">
                <a:avLst/>
              </a:prstGeom>
              <a:blipFill>
                <a:blip r:embed="rId13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1B4C6F2F-4896-F263-5951-4CC41C0F5393}"/>
                  </a:ext>
                </a:extLst>
              </p:cNvPr>
              <p:cNvSpPr txBox="1"/>
              <p:nvPr/>
            </p:nvSpPr>
            <p:spPr>
              <a:xfrm>
                <a:off x="3385843" y="229822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1B4C6F2F-4896-F263-5951-4CC41C0F53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5843" y="2298228"/>
                <a:ext cx="200376" cy="256480"/>
              </a:xfrm>
              <a:prstGeom prst="rect">
                <a:avLst/>
              </a:prstGeom>
              <a:blipFill>
                <a:blip r:embed="rId14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C759E74-6CF6-75A2-D1F0-F24D3C2A6C57}"/>
                  </a:ext>
                </a:extLst>
              </p:cNvPr>
              <p:cNvSpPr txBox="1"/>
              <p:nvPr/>
            </p:nvSpPr>
            <p:spPr>
              <a:xfrm>
                <a:off x="3693794" y="2298228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C759E74-6CF6-75A2-D1F0-F24D3C2A6C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3794" y="2298228"/>
                <a:ext cx="200376" cy="256480"/>
              </a:xfrm>
              <a:prstGeom prst="rect">
                <a:avLst/>
              </a:prstGeom>
              <a:blipFill>
                <a:blip r:embed="rId15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2D8BD8AE-B235-7ADF-EAAC-6C0B6D71C5BB}"/>
                  </a:ext>
                </a:extLst>
              </p:cNvPr>
              <p:cNvSpPr txBox="1"/>
              <p:nvPr/>
            </p:nvSpPr>
            <p:spPr>
              <a:xfrm>
                <a:off x="1846088" y="270870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2D8BD8AE-B235-7ADF-EAAC-6C0B6D71C5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6088" y="2708700"/>
                <a:ext cx="200376" cy="256480"/>
              </a:xfrm>
              <a:prstGeom prst="rect">
                <a:avLst/>
              </a:prstGeom>
              <a:blipFill>
                <a:blip r:embed="rId16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04BDDAA-CCAE-B064-B6AB-F5505F0C4193}"/>
                  </a:ext>
                </a:extLst>
              </p:cNvPr>
              <p:cNvSpPr txBox="1"/>
              <p:nvPr/>
            </p:nvSpPr>
            <p:spPr>
              <a:xfrm>
                <a:off x="2154039" y="270870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04BDDAA-CCAE-B064-B6AB-F5505F0C41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039" y="2708700"/>
                <a:ext cx="200376" cy="256480"/>
              </a:xfrm>
              <a:prstGeom prst="rect">
                <a:avLst/>
              </a:prstGeom>
              <a:blipFill>
                <a:blip r:embed="rId17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0EEC9D7-66D7-1BF3-621E-2B019B660560}"/>
                  </a:ext>
                </a:extLst>
              </p:cNvPr>
              <p:cNvSpPr txBox="1"/>
              <p:nvPr/>
            </p:nvSpPr>
            <p:spPr>
              <a:xfrm>
                <a:off x="2461990" y="270870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0EEC9D7-66D7-1BF3-621E-2B019B6605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1990" y="2708700"/>
                <a:ext cx="200376" cy="256480"/>
              </a:xfrm>
              <a:prstGeom prst="rect">
                <a:avLst/>
              </a:prstGeom>
              <a:blipFill>
                <a:blip r:embed="rId18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FC6FDB10-E8EA-E588-41A5-D396098A8CB1}"/>
                  </a:ext>
                </a:extLst>
              </p:cNvPr>
              <p:cNvSpPr txBox="1"/>
              <p:nvPr/>
            </p:nvSpPr>
            <p:spPr>
              <a:xfrm>
                <a:off x="2769941" y="270870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FC6FDB10-E8EA-E588-41A5-D396098A8C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69941" y="2708700"/>
                <a:ext cx="200376" cy="256480"/>
              </a:xfrm>
              <a:prstGeom prst="rect">
                <a:avLst/>
              </a:prstGeom>
              <a:blipFill>
                <a:blip r:embed="rId19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06E9976-776A-7605-D099-FE027182FE46}"/>
                  </a:ext>
                </a:extLst>
              </p:cNvPr>
              <p:cNvSpPr txBox="1"/>
              <p:nvPr/>
            </p:nvSpPr>
            <p:spPr>
              <a:xfrm>
                <a:off x="3077892" y="270870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06E9976-776A-7605-D099-FE027182FE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7892" y="2708700"/>
                <a:ext cx="200376" cy="256480"/>
              </a:xfrm>
              <a:prstGeom prst="rect">
                <a:avLst/>
              </a:prstGeom>
              <a:blipFill>
                <a:blip r:embed="rId20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583BB3B-2D99-7279-A02C-C2854B5905A2}"/>
                  </a:ext>
                </a:extLst>
              </p:cNvPr>
              <p:cNvSpPr txBox="1"/>
              <p:nvPr/>
            </p:nvSpPr>
            <p:spPr>
              <a:xfrm>
                <a:off x="3385843" y="270870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583BB3B-2D99-7279-A02C-C2854B5905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5843" y="2708700"/>
                <a:ext cx="200376" cy="256480"/>
              </a:xfrm>
              <a:prstGeom prst="rect">
                <a:avLst/>
              </a:prstGeom>
              <a:blipFill>
                <a:blip r:embed="rId21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235C0259-4022-C459-D39F-CBD176D2CB5D}"/>
                  </a:ext>
                </a:extLst>
              </p:cNvPr>
              <p:cNvSpPr txBox="1"/>
              <p:nvPr/>
            </p:nvSpPr>
            <p:spPr>
              <a:xfrm>
                <a:off x="3693794" y="2708700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235C0259-4022-C459-D39F-CBD176D2CB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3794" y="2708700"/>
                <a:ext cx="200376" cy="256480"/>
              </a:xfrm>
              <a:prstGeom prst="rect">
                <a:avLst/>
              </a:prstGeom>
              <a:blipFill>
                <a:blip r:embed="rId22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AB59C782-234E-2C54-1E68-F252B7E0CE1A}"/>
                  </a:ext>
                </a:extLst>
              </p:cNvPr>
              <p:cNvSpPr txBox="1"/>
              <p:nvPr/>
            </p:nvSpPr>
            <p:spPr>
              <a:xfrm>
                <a:off x="1846088" y="312274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AB59C782-234E-2C54-1E68-F252B7E0CE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6088" y="3122741"/>
                <a:ext cx="200376" cy="256480"/>
              </a:xfrm>
              <a:prstGeom prst="rect">
                <a:avLst/>
              </a:prstGeom>
              <a:blipFill>
                <a:blip r:embed="rId23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BD169CB-440D-358D-E00A-C4E756F1DD81}"/>
                  </a:ext>
                </a:extLst>
              </p:cNvPr>
              <p:cNvSpPr txBox="1"/>
              <p:nvPr/>
            </p:nvSpPr>
            <p:spPr>
              <a:xfrm>
                <a:off x="2154039" y="312274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BD169CB-440D-358D-E00A-C4E756F1DD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4039" y="3122741"/>
                <a:ext cx="200376" cy="256480"/>
              </a:xfrm>
              <a:prstGeom prst="rect">
                <a:avLst/>
              </a:prstGeom>
              <a:blipFill>
                <a:blip r:embed="rId24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6C17B76-8D67-2EAB-4417-1AC400A41EA0}"/>
                  </a:ext>
                </a:extLst>
              </p:cNvPr>
              <p:cNvSpPr txBox="1"/>
              <p:nvPr/>
            </p:nvSpPr>
            <p:spPr>
              <a:xfrm>
                <a:off x="2461990" y="312274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6C17B76-8D67-2EAB-4417-1AC400A41E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1990" y="3122741"/>
                <a:ext cx="200376" cy="256480"/>
              </a:xfrm>
              <a:prstGeom prst="rect">
                <a:avLst/>
              </a:prstGeom>
              <a:blipFill>
                <a:blip r:embed="rId25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286F5137-56DC-294B-9D36-53E2E7927F7D}"/>
                  </a:ext>
                </a:extLst>
              </p:cNvPr>
              <p:cNvSpPr txBox="1"/>
              <p:nvPr/>
            </p:nvSpPr>
            <p:spPr>
              <a:xfrm>
                <a:off x="2769941" y="312274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286F5137-56DC-294B-9D36-53E2E7927F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69941" y="3122741"/>
                <a:ext cx="200376" cy="256480"/>
              </a:xfrm>
              <a:prstGeom prst="rect">
                <a:avLst/>
              </a:prstGeom>
              <a:blipFill>
                <a:blip r:embed="rId26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CAEA4F7D-F141-4A09-CE84-1ABBBED7C854}"/>
                  </a:ext>
                </a:extLst>
              </p:cNvPr>
              <p:cNvSpPr txBox="1"/>
              <p:nvPr/>
            </p:nvSpPr>
            <p:spPr>
              <a:xfrm>
                <a:off x="3077892" y="312274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CAEA4F7D-F141-4A09-CE84-1ABBBED7C8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7892" y="3122741"/>
                <a:ext cx="200376" cy="256480"/>
              </a:xfrm>
              <a:prstGeom prst="rect">
                <a:avLst/>
              </a:prstGeom>
              <a:blipFill>
                <a:blip r:embed="rId27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1EA99676-7ABB-B202-206F-FC0857DEDC2D}"/>
                  </a:ext>
                </a:extLst>
              </p:cNvPr>
              <p:cNvSpPr txBox="1"/>
              <p:nvPr/>
            </p:nvSpPr>
            <p:spPr>
              <a:xfrm>
                <a:off x="3385843" y="312274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1EA99676-7ABB-B202-206F-FC0857DEDC2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5843" y="3122741"/>
                <a:ext cx="200376" cy="256480"/>
              </a:xfrm>
              <a:prstGeom prst="rect">
                <a:avLst/>
              </a:prstGeom>
              <a:blipFill>
                <a:blip r:embed="rId28"/>
                <a:stretch>
                  <a:fillRect l="-27273" t="-9524" r="-3030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32B565C-F7C7-BB67-925B-F9F8776616E2}"/>
                  </a:ext>
                </a:extLst>
              </p:cNvPr>
              <p:cNvSpPr txBox="1"/>
              <p:nvPr/>
            </p:nvSpPr>
            <p:spPr>
              <a:xfrm>
                <a:off x="3693794" y="312274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732B565C-F7C7-BB67-925B-F9F8776616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3794" y="3122741"/>
                <a:ext cx="200376" cy="256480"/>
              </a:xfrm>
              <a:prstGeom prst="rect">
                <a:avLst/>
              </a:prstGeom>
              <a:blipFill>
                <a:blip r:embed="rId29"/>
                <a:stretch>
                  <a:fillRect l="-30303" t="-9524" r="-27273" b="-95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2" name="Group 41">
            <a:extLst>
              <a:ext uri="{FF2B5EF4-FFF2-40B4-BE49-F238E27FC236}">
                <a16:creationId xmlns:a16="http://schemas.microsoft.com/office/drawing/2014/main" id="{65361D2F-6CEF-9415-A4C1-2F4E91F6B2F6}"/>
              </a:ext>
            </a:extLst>
          </p:cNvPr>
          <p:cNvGrpSpPr/>
          <p:nvPr/>
        </p:nvGrpSpPr>
        <p:grpSpPr>
          <a:xfrm>
            <a:off x="1741443" y="4940231"/>
            <a:ext cx="2235856" cy="532996"/>
            <a:chOff x="900904" y="3048664"/>
            <a:chExt cx="2235856" cy="2319579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E765471-09D3-165E-83BE-C9EC0F8087BB}"/>
                </a:ext>
              </a:extLst>
            </p:cNvPr>
            <p:cNvSpPr/>
            <p:nvPr/>
          </p:nvSpPr>
          <p:spPr>
            <a:xfrm>
              <a:off x="900904" y="3274987"/>
              <a:ext cx="2235856" cy="1811102"/>
            </a:xfrm>
            <a:prstGeom prst="rect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2B14876-526E-FB1E-4029-AD8163CA8DCD}"/>
                </a:ext>
              </a:extLst>
            </p:cNvPr>
            <p:cNvSpPr/>
            <p:nvPr/>
          </p:nvSpPr>
          <p:spPr>
            <a:xfrm>
              <a:off x="1040789" y="3048664"/>
              <a:ext cx="1964485" cy="231957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F9ECEA8C-93D8-146A-FC80-0E6B986A5415}"/>
                  </a:ext>
                </a:extLst>
              </p:cNvPr>
              <p:cNvSpPr txBox="1"/>
              <p:nvPr/>
            </p:nvSpPr>
            <p:spPr>
              <a:xfrm>
                <a:off x="1853885" y="509907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F9ECEA8C-93D8-146A-FC80-0E6B986A54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3885" y="5099071"/>
                <a:ext cx="200376" cy="256480"/>
              </a:xfrm>
              <a:prstGeom prst="rect">
                <a:avLst/>
              </a:prstGeom>
              <a:blipFill>
                <a:blip r:embed="rId30"/>
                <a:stretch>
                  <a:fillRect l="-27273" t="-9302" r="-30303" b="-69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0F3F7DF7-B728-CC57-76FB-1C85FE7D4B95}"/>
                  </a:ext>
                </a:extLst>
              </p:cNvPr>
              <p:cNvSpPr txBox="1"/>
              <p:nvPr/>
            </p:nvSpPr>
            <p:spPr>
              <a:xfrm>
                <a:off x="2161836" y="509907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0F3F7DF7-B728-CC57-76FB-1C85FE7D4B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1836" y="5099071"/>
                <a:ext cx="200376" cy="256480"/>
              </a:xfrm>
              <a:prstGeom prst="rect">
                <a:avLst/>
              </a:prstGeom>
              <a:blipFill>
                <a:blip r:embed="rId31"/>
                <a:stretch>
                  <a:fillRect l="-30303" t="-9302" r="-27273" b="-69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A815FFDE-0455-3297-BCEF-9813DEC12FBE}"/>
                  </a:ext>
                </a:extLst>
              </p:cNvPr>
              <p:cNvSpPr txBox="1"/>
              <p:nvPr/>
            </p:nvSpPr>
            <p:spPr>
              <a:xfrm>
                <a:off x="2469787" y="509907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A815FFDE-0455-3297-BCEF-9813DEC12F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9787" y="5099071"/>
                <a:ext cx="200376" cy="256480"/>
              </a:xfrm>
              <a:prstGeom prst="rect">
                <a:avLst/>
              </a:prstGeom>
              <a:blipFill>
                <a:blip r:embed="rId32"/>
                <a:stretch>
                  <a:fillRect l="-27273" t="-9302" r="-30303" b="-69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8B105C89-177B-3331-ED39-96EE1195DF1F}"/>
                  </a:ext>
                </a:extLst>
              </p:cNvPr>
              <p:cNvSpPr txBox="1"/>
              <p:nvPr/>
            </p:nvSpPr>
            <p:spPr>
              <a:xfrm>
                <a:off x="2777738" y="509907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8B105C89-177B-3331-ED39-96EE1195DF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77738" y="5099071"/>
                <a:ext cx="200376" cy="256480"/>
              </a:xfrm>
              <a:prstGeom prst="rect">
                <a:avLst/>
              </a:prstGeom>
              <a:blipFill>
                <a:blip r:embed="rId33"/>
                <a:stretch>
                  <a:fillRect l="-30303" t="-9302" r="-27273" b="-69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D7F2F08C-6B07-1A56-53CF-01323E92BEB1}"/>
                  </a:ext>
                </a:extLst>
              </p:cNvPr>
              <p:cNvSpPr txBox="1"/>
              <p:nvPr/>
            </p:nvSpPr>
            <p:spPr>
              <a:xfrm>
                <a:off x="3085689" y="509907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D7F2F08C-6B07-1A56-53CF-01323E92BEB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85689" y="5099071"/>
                <a:ext cx="200376" cy="256480"/>
              </a:xfrm>
              <a:prstGeom prst="rect">
                <a:avLst/>
              </a:prstGeom>
              <a:blipFill>
                <a:blip r:embed="rId34"/>
                <a:stretch>
                  <a:fillRect l="-27273" t="-9302" r="-30303" b="-69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A7838E89-2141-4074-8C87-6926ACD963C3}"/>
                  </a:ext>
                </a:extLst>
              </p:cNvPr>
              <p:cNvSpPr txBox="1"/>
              <p:nvPr/>
            </p:nvSpPr>
            <p:spPr>
              <a:xfrm>
                <a:off x="3393640" y="509907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A7838E89-2141-4074-8C87-6926ACD963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3640" y="5099071"/>
                <a:ext cx="200376" cy="256480"/>
              </a:xfrm>
              <a:prstGeom prst="rect">
                <a:avLst/>
              </a:prstGeom>
              <a:blipFill>
                <a:blip r:embed="rId35"/>
                <a:stretch>
                  <a:fillRect l="-30303" t="-9302" r="-27273" b="-69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3BEB85E6-AC36-3DA4-FDF3-7FB517F370CC}"/>
                  </a:ext>
                </a:extLst>
              </p:cNvPr>
              <p:cNvSpPr txBox="1"/>
              <p:nvPr/>
            </p:nvSpPr>
            <p:spPr>
              <a:xfrm>
                <a:off x="3701591" y="5099071"/>
                <a:ext cx="200376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3BEB85E6-AC36-3DA4-FDF3-7FB517F370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01591" y="5099071"/>
                <a:ext cx="200376" cy="256480"/>
              </a:xfrm>
              <a:prstGeom prst="rect">
                <a:avLst/>
              </a:prstGeom>
              <a:blipFill>
                <a:blip r:embed="rId36"/>
                <a:stretch>
                  <a:fillRect l="-27273" t="-9302" r="-30303" b="-69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975DBB22-353A-EFB6-2133-9D9950DA1F30}"/>
              </a:ext>
            </a:extLst>
          </p:cNvPr>
          <p:cNvSpPr/>
          <p:nvPr/>
        </p:nvSpPr>
        <p:spPr>
          <a:xfrm>
            <a:off x="1846088" y="4104215"/>
            <a:ext cx="2016000" cy="396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42578640-8047-16E4-649B-38C80BD56F49}"/>
                  </a:ext>
                </a:extLst>
              </p:cNvPr>
              <p:cNvSpPr txBox="1"/>
              <p:nvPr/>
            </p:nvSpPr>
            <p:spPr>
              <a:xfrm>
                <a:off x="2324370" y="4173975"/>
                <a:ext cx="1059436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𝑇𝑜𝑝𝐾</m:t>
                      </m:r>
                    </m:oMath>
                  </m:oMathPara>
                </a14:m>
                <a:endParaRPr lang="en-US" sz="20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42578640-8047-16E4-649B-38C80BD56F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4370" y="4173975"/>
                <a:ext cx="1059436" cy="256480"/>
              </a:xfrm>
              <a:prstGeom prst="rect">
                <a:avLst/>
              </a:prstGeom>
              <a:blipFill>
                <a:blip r:embed="rId37"/>
                <a:stretch>
                  <a:fillRect t="-16667" b="-404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AB3C8015-1927-4A05-A069-B41C127FEDB7}"/>
              </a:ext>
            </a:extLst>
          </p:cNvPr>
          <p:cNvCxnSpPr>
            <a:cxnSpLocks/>
          </p:cNvCxnSpPr>
          <p:nvPr/>
        </p:nvCxnSpPr>
        <p:spPr>
          <a:xfrm>
            <a:off x="2893022" y="3718502"/>
            <a:ext cx="0" cy="247436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C1E99FF9-4CF4-C73C-4E50-A1BE1475992E}"/>
              </a:ext>
            </a:extLst>
          </p:cNvPr>
          <p:cNvCxnSpPr>
            <a:cxnSpLocks/>
          </p:cNvCxnSpPr>
          <p:nvPr/>
        </p:nvCxnSpPr>
        <p:spPr>
          <a:xfrm>
            <a:off x="2893022" y="4608189"/>
            <a:ext cx="0" cy="247436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4894D92A-50E3-F3FD-6797-034C17661105}"/>
              </a:ext>
            </a:extLst>
          </p:cNvPr>
          <p:cNvSpPr/>
          <p:nvPr/>
        </p:nvSpPr>
        <p:spPr>
          <a:xfrm>
            <a:off x="5157807" y="1886293"/>
            <a:ext cx="72000" cy="756000"/>
          </a:xfrm>
          <a:prstGeom prst="rect">
            <a:avLst/>
          </a:prstGeom>
          <a:solidFill>
            <a:srgbClr val="D5E8D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4FD07C3-9190-EF3C-7789-26F3DD5BF44A}"/>
              </a:ext>
            </a:extLst>
          </p:cNvPr>
          <p:cNvSpPr txBox="1"/>
          <p:nvPr/>
        </p:nvSpPr>
        <p:spPr>
          <a:xfrm>
            <a:off x="832812" y="2294660"/>
            <a:ext cx="801056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/>
              <a:t>Selection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/>
              <a:t>Matrix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3E0CB6B-0CEB-D865-6570-2D52B2CCC4CB}"/>
              </a:ext>
            </a:extLst>
          </p:cNvPr>
          <p:cNvSpPr txBox="1"/>
          <p:nvPr/>
        </p:nvSpPr>
        <p:spPr>
          <a:xfrm>
            <a:off x="862335" y="4977001"/>
            <a:ext cx="801056" cy="502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/>
              <a:t>Selection</a:t>
            </a:r>
          </a:p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/>
              <a:t>Vector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87D78681-3514-0587-1BBF-5FC2EAD84B00}"/>
              </a:ext>
            </a:extLst>
          </p:cNvPr>
          <p:cNvCxnSpPr/>
          <p:nvPr/>
        </p:nvCxnSpPr>
        <p:spPr>
          <a:xfrm>
            <a:off x="1178263" y="2902957"/>
            <a:ext cx="0" cy="1952668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9AFBA3A3-F3DF-EA0B-206D-D767CE275ADE}"/>
              </a:ext>
            </a:extLst>
          </p:cNvPr>
          <p:cNvSpPr/>
          <p:nvPr/>
        </p:nvSpPr>
        <p:spPr>
          <a:xfrm>
            <a:off x="5157807" y="2873566"/>
            <a:ext cx="72000" cy="756000"/>
          </a:xfrm>
          <a:prstGeom prst="rect">
            <a:avLst/>
          </a:prstGeom>
          <a:solidFill>
            <a:srgbClr val="FBE5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D9E58D3-8D95-9A9C-8639-4C371F345BA0}"/>
              </a:ext>
            </a:extLst>
          </p:cNvPr>
          <p:cNvSpPr/>
          <p:nvPr/>
        </p:nvSpPr>
        <p:spPr>
          <a:xfrm>
            <a:off x="5158208" y="3861705"/>
            <a:ext cx="72000" cy="756000"/>
          </a:xfrm>
          <a:prstGeom prst="rect">
            <a:avLst/>
          </a:prstGeom>
          <a:solidFill>
            <a:srgbClr val="DAE9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11CFADEC-7A76-EC93-CC7F-AA0CAD13D041}"/>
              </a:ext>
            </a:extLst>
          </p:cNvPr>
          <p:cNvGrpSpPr/>
          <p:nvPr/>
        </p:nvGrpSpPr>
        <p:grpSpPr>
          <a:xfrm>
            <a:off x="5693649" y="2077290"/>
            <a:ext cx="360000" cy="361123"/>
            <a:chOff x="5813067" y="2432978"/>
            <a:chExt cx="360000" cy="36112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7B33DFC4-DDF9-9C57-8A72-0F77DC5EA7E5}"/>
                </a:ext>
              </a:extLst>
            </p:cNvPr>
            <p:cNvSpPr/>
            <p:nvPr/>
          </p:nvSpPr>
          <p:spPr>
            <a:xfrm>
              <a:off x="5813067" y="2434101"/>
              <a:ext cx="360000" cy="360000"/>
            </a:xfrm>
            <a:prstGeom prst="ellipse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88" name="Plus Sign 87">
              <a:extLst>
                <a:ext uri="{FF2B5EF4-FFF2-40B4-BE49-F238E27FC236}">
                  <a16:creationId xmlns:a16="http://schemas.microsoft.com/office/drawing/2014/main" id="{B6B7D687-9F13-8A71-CCDA-91C797A0B891}"/>
                </a:ext>
              </a:extLst>
            </p:cNvPr>
            <p:cNvSpPr/>
            <p:nvPr/>
          </p:nvSpPr>
          <p:spPr>
            <a:xfrm>
              <a:off x="5813067" y="2432978"/>
              <a:ext cx="360000" cy="360000"/>
            </a:xfrm>
            <a:prstGeom prst="mathPlus">
              <a:avLst>
                <a:gd name="adj1" fmla="val 13688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E15E55DF-E70A-F4C0-A8EA-67D0F17CFDAF}"/>
              </a:ext>
            </a:extLst>
          </p:cNvPr>
          <p:cNvSpPr/>
          <p:nvPr/>
        </p:nvSpPr>
        <p:spPr>
          <a:xfrm>
            <a:off x="6472790" y="2068573"/>
            <a:ext cx="2016000" cy="396000"/>
          </a:xfrm>
          <a:prstGeom prst="roundRect">
            <a:avLst/>
          </a:prstGeom>
          <a:solidFill>
            <a:srgbClr val="DAE9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49B82C65-B1BB-C410-264D-0AF0A5396A71}"/>
                  </a:ext>
                </a:extLst>
              </p:cNvPr>
              <p:cNvSpPr txBox="1"/>
              <p:nvPr/>
            </p:nvSpPr>
            <p:spPr>
              <a:xfrm>
                <a:off x="6951072" y="2138333"/>
                <a:ext cx="1059436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𝑆𝑜𝑓𝑡𝑚𝑎𝑥</m:t>
                      </m:r>
                    </m:oMath>
                  </m:oMathPara>
                </a14:m>
                <a:endParaRPr lang="en-US" sz="20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49B82C65-B1BB-C410-264D-0AF0A5396A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51072" y="2138333"/>
                <a:ext cx="1059436" cy="256480"/>
              </a:xfrm>
              <a:prstGeom prst="rect">
                <a:avLst/>
              </a:prstGeom>
              <a:blipFill>
                <a:blip r:embed="rId38"/>
                <a:stretch>
                  <a:fillRect l="-8621" t="-19048" r="-8046" b="-404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D580055E-0554-7192-2E46-1C3D7B279BB5}"/>
              </a:ext>
            </a:extLst>
          </p:cNvPr>
          <p:cNvSpPr/>
          <p:nvPr/>
        </p:nvSpPr>
        <p:spPr>
          <a:xfrm>
            <a:off x="8832000" y="2068573"/>
            <a:ext cx="2016000" cy="3960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83536576-453C-1D4C-EE1B-1A746A7E6D3D}"/>
                  </a:ext>
                </a:extLst>
              </p:cNvPr>
              <p:cNvSpPr txBox="1"/>
              <p:nvPr/>
            </p:nvSpPr>
            <p:spPr>
              <a:xfrm>
                <a:off x="9310282" y="2138333"/>
                <a:ext cx="1059436" cy="2564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mbria Math" panose="02040503050406030204" pitchFamily="18" charset="0"/>
                        </a:rPr>
                        <m:t>𝑇𝑜𝑝𝐾</m:t>
                      </m:r>
                    </m:oMath>
                  </m:oMathPara>
                </a14:m>
                <a:endParaRPr lang="en-US" sz="2000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83536576-453C-1D4C-EE1B-1A746A7E6D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10282" y="2138333"/>
                <a:ext cx="1059436" cy="256480"/>
              </a:xfrm>
              <a:prstGeom prst="rect">
                <a:avLst/>
              </a:prstGeom>
              <a:blipFill>
                <a:blip r:embed="rId39"/>
                <a:stretch>
                  <a:fillRect t="-16667" b="-404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F96771EB-B5AE-E7DA-31EB-7EBCA9571E04}"/>
              </a:ext>
            </a:extLst>
          </p:cNvPr>
          <p:cNvCxnSpPr>
            <a:cxnSpLocks/>
          </p:cNvCxnSpPr>
          <p:nvPr/>
        </p:nvCxnSpPr>
        <p:spPr>
          <a:xfrm>
            <a:off x="5868733" y="1758053"/>
            <a:ext cx="0" cy="247436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83087B98-D522-6760-AFAF-4FF4B647D281}"/>
              </a:ext>
            </a:extLst>
          </p:cNvPr>
          <p:cNvCxnSpPr>
            <a:cxnSpLocks/>
          </p:cNvCxnSpPr>
          <p:nvPr/>
        </p:nvCxnSpPr>
        <p:spPr>
          <a:xfrm>
            <a:off x="5349401" y="2264293"/>
            <a:ext cx="2880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5BA82F00-3991-76EE-E562-EC580AEE73FA}"/>
              </a:ext>
            </a:extLst>
          </p:cNvPr>
          <p:cNvCxnSpPr>
            <a:cxnSpLocks/>
          </p:cNvCxnSpPr>
          <p:nvPr/>
        </p:nvCxnSpPr>
        <p:spPr>
          <a:xfrm>
            <a:off x="6134055" y="2264293"/>
            <a:ext cx="2880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9FF0F7FA-B5C3-2DAB-22AA-C3A4B53B1834}"/>
              </a:ext>
            </a:extLst>
          </p:cNvPr>
          <p:cNvCxnSpPr>
            <a:cxnSpLocks/>
          </p:cNvCxnSpPr>
          <p:nvPr/>
        </p:nvCxnSpPr>
        <p:spPr>
          <a:xfrm>
            <a:off x="8519682" y="2258114"/>
            <a:ext cx="2880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EBB53B65-B18F-E34B-1682-1040AAB04AFC}"/>
              </a:ext>
            </a:extLst>
          </p:cNvPr>
          <p:cNvCxnSpPr>
            <a:cxnSpLocks/>
          </p:cNvCxnSpPr>
          <p:nvPr/>
        </p:nvCxnSpPr>
        <p:spPr>
          <a:xfrm>
            <a:off x="10991033" y="2264293"/>
            <a:ext cx="2880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AABDEE9F-9A35-B749-EA8C-9B33F54105A7}"/>
                  </a:ext>
                </a:extLst>
              </p:cNvPr>
              <p:cNvSpPr txBox="1"/>
              <p:nvPr/>
            </p:nvSpPr>
            <p:spPr>
              <a:xfrm>
                <a:off x="11326282" y="2129050"/>
                <a:ext cx="312008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̃"/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000" b="1" i="0" smtClean="0">
                                  <a:latin typeface="Cambria Math" panose="02040503050406030204" pitchFamily="18" charset="0"/>
                                </a:rPr>
                                <m:t>𝐬</m:t>
                              </m:r>
                            </m:e>
                          </m:acc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</a:rPr>
                            <m:t>T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AABDEE9F-9A35-B749-EA8C-9B33F54105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26282" y="2129050"/>
                <a:ext cx="312008" cy="256480"/>
              </a:xfrm>
              <a:prstGeom prst="rect">
                <a:avLst/>
              </a:prstGeom>
              <a:blipFill>
                <a:blip r:embed="rId40"/>
                <a:stretch>
                  <a:fillRect l="-11765" t="-33333" r="-39216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C8605ED1-FB89-31E4-D4F6-E297B0919683}"/>
              </a:ext>
            </a:extLst>
          </p:cNvPr>
          <p:cNvSpPr/>
          <p:nvPr/>
        </p:nvSpPr>
        <p:spPr>
          <a:xfrm>
            <a:off x="7361513" y="2983293"/>
            <a:ext cx="1584000" cy="5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PS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8D207E14-731A-EB4D-C4A1-DA8C9FDDCA29}"/>
              </a:ext>
            </a:extLst>
          </p:cNvPr>
          <p:cNvCxnSpPr>
            <a:cxnSpLocks/>
          </p:cNvCxnSpPr>
          <p:nvPr/>
        </p:nvCxnSpPr>
        <p:spPr>
          <a:xfrm>
            <a:off x="5349400" y="3271705"/>
            <a:ext cx="1822143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050F915B-85CB-770D-148F-C462D0CEF9E1}"/>
              </a:ext>
            </a:extLst>
          </p:cNvPr>
          <p:cNvCxnSpPr>
            <a:cxnSpLocks/>
          </p:cNvCxnSpPr>
          <p:nvPr/>
        </p:nvCxnSpPr>
        <p:spPr>
          <a:xfrm>
            <a:off x="9117732" y="3271705"/>
            <a:ext cx="2161300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76C29EAB-0CC4-686D-8273-4BF46ED0BEB6}"/>
              </a:ext>
            </a:extLst>
          </p:cNvPr>
          <p:cNvCxnSpPr>
            <a:cxnSpLocks/>
          </p:cNvCxnSpPr>
          <p:nvPr/>
        </p:nvCxnSpPr>
        <p:spPr>
          <a:xfrm>
            <a:off x="5343155" y="4243118"/>
            <a:ext cx="1822142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15FC136F-8EA2-4019-EFCD-02AD3C9A2294}"/>
              </a:ext>
            </a:extLst>
          </p:cNvPr>
          <p:cNvCxnSpPr>
            <a:cxnSpLocks/>
          </p:cNvCxnSpPr>
          <p:nvPr/>
        </p:nvCxnSpPr>
        <p:spPr>
          <a:xfrm>
            <a:off x="9111486" y="4236115"/>
            <a:ext cx="2161301" cy="7003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BB99AF25-7373-58CD-9DD3-99B01040247B}"/>
                  </a:ext>
                </a:extLst>
              </p:cNvPr>
              <p:cNvSpPr txBox="1"/>
              <p:nvPr/>
            </p:nvSpPr>
            <p:spPr>
              <a:xfrm>
                <a:off x="11326280" y="3118344"/>
                <a:ext cx="318421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̃"/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000" b="1" i="0" smtClean="0">
                                  <a:latin typeface="Cambria Math" panose="02040503050406030204" pitchFamily="18" charset="0"/>
                                </a:rPr>
                                <m:t>𝐬</m:t>
                              </m:r>
                            </m:e>
                          </m:acc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BB99AF25-7373-58CD-9DD3-99B0104024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26280" y="3118344"/>
                <a:ext cx="318421" cy="256480"/>
              </a:xfrm>
              <a:prstGeom prst="rect">
                <a:avLst/>
              </a:prstGeom>
              <a:blipFill>
                <a:blip r:embed="rId41"/>
                <a:stretch>
                  <a:fillRect l="-11538" t="-35714" r="-38462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0289F86E-53BF-1FE6-5FEC-3416F6D3AAD8}"/>
                  </a:ext>
                </a:extLst>
              </p:cNvPr>
              <p:cNvSpPr txBox="1"/>
              <p:nvPr/>
            </p:nvSpPr>
            <p:spPr>
              <a:xfrm>
                <a:off x="11320034" y="4114878"/>
                <a:ext cx="312008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̃"/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000" b="1" i="0" smtClean="0">
                                  <a:latin typeface="Cambria Math" panose="02040503050406030204" pitchFamily="18" charset="0"/>
                                </a:rPr>
                                <m:t>𝐬</m:t>
                              </m:r>
                            </m:e>
                          </m:acc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</a:rPr>
                            <m:t>F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0289F86E-53BF-1FE6-5FEC-3416F6D3AA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20034" y="4114878"/>
                <a:ext cx="312008" cy="256480"/>
              </a:xfrm>
              <a:prstGeom prst="rect">
                <a:avLst/>
              </a:prstGeom>
              <a:blipFill>
                <a:blip r:embed="rId42"/>
                <a:stretch>
                  <a:fillRect l="-9804" t="-33333" r="-41176" b="-2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74FD2610-C591-F314-50EB-BE8ACC830F04}"/>
              </a:ext>
            </a:extLst>
          </p:cNvPr>
          <p:cNvSpPr/>
          <p:nvPr/>
        </p:nvSpPr>
        <p:spPr>
          <a:xfrm>
            <a:off x="7390589" y="4780968"/>
            <a:ext cx="4232748" cy="636206"/>
          </a:xfrm>
          <a:prstGeom prst="roundRect">
            <a:avLst/>
          </a:prstGeom>
          <a:solidFill>
            <a:srgbClr val="F6F4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87D1E106-A1B5-D585-5267-06DC4EED831D}"/>
                  </a:ext>
                </a:extLst>
              </p:cNvPr>
              <p:cNvSpPr txBox="1"/>
              <p:nvPr/>
            </p:nvSpPr>
            <p:spPr>
              <a:xfrm>
                <a:off x="7669048" y="4988709"/>
                <a:ext cx="3904339" cy="5572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32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3200" b="1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3200" b="0" i="0" smtClean="0">
                              <a:latin typeface="Cambria Math" panose="02040503050406030204" pitchFamily="18" charset="0"/>
                            </a:rPr>
                            <m:t>s</m:t>
                          </m:r>
                        </m:sub>
                      </m:sSub>
                      <m:r>
                        <a:rPr lang="de-DE" sz="3200" b="1" i="0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3200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zh-CN" sz="3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̃"/>
                                  <m:ctrlPr>
                                    <a:rPr lang="en-US" altLang="zh-CN" sz="3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sz="3200" b="1">
                                      <a:latin typeface="Cambria Math" panose="02040503050406030204" pitchFamily="18" charset="0"/>
                                    </a:rPr>
                                    <m:t>𝐬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>
                                  <a:latin typeface="Cambria Math" panose="02040503050406030204" pitchFamily="18" charset="0"/>
                                </a:rPr>
                                <m:t>T</m:t>
                              </m:r>
                            </m:sub>
                          </m:sSub>
                          <m:r>
                            <a:rPr lang="en-US" sz="32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⨂</m:t>
                          </m:r>
                          <m:sSub>
                            <m:sSubPr>
                              <m:ctrlPr>
                                <a:rPr lang="en-US" altLang="zh-CN" sz="3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̃"/>
                                  <m:ctrlPr>
                                    <a:rPr lang="en-US" altLang="zh-CN" sz="3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sz="3200" b="1">
                                      <a:latin typeface="Cambria Math" panose="02040503050406030204" pitchFamily="18" charset="0"/>
                                    </a:rPr>
                                    <m:t>𝐬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>
                                  <a:latin typeface="Cambria Math" panose="02040503050406030204" pitchFamily="18" charset="0"/>
                                </a:rPr>
                                <m:t>R</m:t>
                              </m:r>
                            </m:sub>
                          </m:sSub>
                          <m:r>
                            <a:rPr lang="en-US" altLang="zh-CN" sz="3200" b="1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⨂</m:t>
                          </m:r>
                          <m:sSub>
                            <m:sSubPr>
                              <m:ctrlPr>
                                <a:rPr lang="en-US" altLang="zh-CN" sz="3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̃"/>
                                  <m:ctrlPr>
                                    <a:rPr lang="en-US" altLang="zh-CN" sz="3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sz="3200" b="1">
                                      <a:latin typeface="Cambria Math" panose="02040503050406030204" pitchFamily="18" charset="0"/>
                                    </a:rPr>
                                    <m:t>𝐬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altLang="zh-CN" sz="3200">
                                  <a:latin typeface="Cambria Math" panose="02040503050406030204" pitchFamily="18" charset="0"/>
                                </a:rPr>
                                <m:t>F</m:t>
                              </m:r>
                            </m:sub>
                          </m:sSub>
                        </m:e>
                      </m:d>
                      <m:r>
                        <a:rPr lang="en-US" altLang="zh-CN" sz="32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⨀</m:t>
                      </m:r>
                      <m:r>
                        <a:rPr lang="en-US" altLang="zh-CN" sz="3200" b="1" i="0" smtClean="0"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en-US" sz="3200" b="1" dirty="0"/>
              </a:p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:endParaRPr lang="en-US" sz="3200" b="1" dirty="0"/>
              </a:p>
            </p:txBody>
          </p:sp>
        </mc:Choice>
        <mc:Fallback xmlns="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87D1E106-A1B5-D585-5267-06DC4EED83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69048" y="4988709"/>
                <a:ext cx="3904339" cy="557204"/>
              </a:xfrm>
              <a:prstGeom prst="rect">
                <a:avLst/>
              </a:prstGeom>
              <a:blipFill>
                <a:blip r:embed="rId43"/>
                <a:stretch>
                  <a:fillRect l="-1092" t="-38043" r="-14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72B80FEB-22ED-7BF0-A99C-DA98F300E9E6}"/>
              </a:ext>
            </a:extLst>
          </p:cNvPr>
          <p:cNvSpPr/>
          <p:nvPr/>
        </p:nvSpPr>
        <p:spPr>
          <a:xfrm>
            <a:off x="7368561" y="3966115"/>
            <a:ext cx="1584000" cy="5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P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E8655446-4473-E1C7-4AB2-3A4130E44247}"/>
                  </a:ext>
                </a:extLst>
              </p:cNvPr>
              <p:cNvSpPr txBox="1"/>
              <p:nvPr/>
            </p:nvSpPr>
            <p:spPr>
              <a:xfrm>
                <a:off x="832812" y="5609090"/>
                <a:ext cx="3904339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2800" dirty="0">
                    <a:solidFill>
                      <a:schemeClr val="bg1">
                        <a:lumMod val="50000"/>
                      </a:schemeClr>
                    </a:solidFill>
                    <a:ea typeface="Cambria Math" panose="02040503050406030204" pitchFamily="18" charset="0"/>
                  </a:rPr>
                  <a:t>Parameter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80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</m:sSub>
                    <m:sSub>
                      <m:sSubPr>
                        <m:ctrlP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8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R</m:t>
                        </m:r>
                      </m:sub>
                    </m:sSub>
                    <m:sSub>
                      <m:sSubPr>
                        <m:ctrlP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8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F</m:t>
                        </m:r>
                      </m:sub>
                    </m:sSub>
                  </m:oMath>
                </a14:m>
                <a:endParaRPr lang="en-US" sz="2800" dirty="0"/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E8655446-4473-E1C7-4AB2-3A4130E442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812" y="5609090"/>
                <a:ext cx="3904339" cy="523220"/>
              </a:xfrm>
              <a:prstGeom prst="rect">
                <a:avLst/>
              </a:prstGeom>
              <a:blipFill>
                <a:blip r:embed="rId44"/>
                <a:stretch>
                  <a:fillRect l="-3281" t="-10465" b="-325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TextBox 40">
            <a:extLst>
              <a:ext uri="{FF2B5EF4-FFF2-40B4-BE49-F238E27FC236}">
                <a16:creationId xmlns:a16="http://schemas.microsoft.com/office/drawing/2014/main" id="{7B3091D8-69DF-4B75-C724-C5ED2B839C72}"/>
              </a:ext>
            </a:extLst>
          </p:cNvPr>
          <p:cNvSpPr txBox="1"/>
          <p:nvPr/>
        </p:nvSpPr>
        <p:spPr>
          <a:xfrm>
            <a:off x="5048222" y="4861447"/>
            <a:ext cx="21575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dirty="0">
                <a:solidFill>
                  <a:schemeClr val="bg1">
                    <a:lumMod val="50000"/>
                  </a:schemeClr>
                </a:solidFill>
                <a:ea typeface="Cambria Math" panose="02040503050406030204" pitchFamily="18" charset="0"/>
              </a:rPr>
              <a:t>Subsampling: </a:t>
            </a:r>
            <a:endParaRPr lang="en-US" sz="28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8FC29821-4730-F018-F943-B379AC01544A}"/>
                  </a:ext>
                </a:extLst>
              </p:cNvPr>
              <p:cNvSpPr txBox="1"/>
              <p:nvPr/>
            </p:nvSpPr>
            <p:spPr>
              <a:xfrm>
                <a:off x="5048222" y="5614387"/>
                <a:ext cx="4386162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altLang="zh-CN" sz="2800" dirty="0">
                    <a:solidFill>
                      <a:schemeClr val="bg1">
                        <a:lumMod val="50000"/>
                      </a:schemeClr>
                    </a:solidFill>
                    <a:ea typeface="Cambria Math" panose="02040503050406030204" pitchFamily="18" charset="0"/>
                  </a:rPr>
                  <a:t>Parameters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80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T</m:t>
                        </m:r>
                      </m:sub>
                    </m:sSub>
                    <m:sSub>
                      <m:sSubPr>
                        <m:ctrlP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8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R</m:t>
                        </m:r>
                      </m:sub>
                    </m:sSub>
                    <m:r>
                      <a:rPr lang="en-US" altLang="zh-CN" sz="2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8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F</m:t>
                        </m:r>
                      </m:sub>
                    </m:sSub>
                  </m:oMath>
                </a14:m>
                <a:endParaRPr lang="en-US" sz="2800" dirty="0"/>
              </a:p>
            </p:txBody>
          </p:sp>
        </mc:Choice>
        <mc:Fallback xmlns=""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8FC29821-4730-F018-F943-B379AC0154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48222" y="5614387"/>
                <a:ext cx="4386162" cy="523220"/>
              </a:xfrm>
              <a:prstGeom prst="rect">
                <a:avLst/>
              </a:prstGeom>
              <a:blipFill>
                <a:blip r:embed="rId45"/>
                <a:stretch>
                  <a:fillRect l="-2778" t="-11628" b="-325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65189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 animBg="1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45" grpId="0"/>
      <p:bldP spid="46" grpId="0"/>
      <p:bldP spid="47" grpId="0"/>
      <p:bldP spid="48" grpId="0"/>
      <p:bldP spid="49" grpId="0"/>
      <p:bldP spid="50" grpId="0"/>
      <p:bldP spid="51" grpId="0"/>
      <p:bldP spid="73" grpId="0" animBg="1"/>
      <p:bldP spid="74" grpId="0"/>
      <p:bldP spid="78" grpId="0" animBg="1"/>
      <p:bldP spid="81" grpId="0"/>
      <p:bldP spid="82" grpId="0"/>
      <p:bldP spid="85" grpId="0" animBg="1"/>
      <p:bldP spid="86" grpId="0" animBg="1"/>
      <p:bldP spid="90" grpId="0" animBg="1"/>
      <p:bldP spid="91" grpId="0"/>
      <p:bldP spid="95" grpId="0" animBg="1"/>
      <p:bldP spid="96" grpId="0"/>
      <p:bldP spid="109" grpId="0"/>
      <p:bldP spid="111" grpId="0" animBg="1"/>
      <p:bldP spid="117" grpId="0"/>
      <p:bldP spid="118" grpId="0"/>
      <p:bldP spid="119" grpId="0" animBg="1"/>
      <p:bldP spid="120" grpId="0"/>
      <p:bldP spid="125" grpId="0" animBg="1"/>
      <p:bldP spid="39" grpId="0"/>
      <p:bldP spid="41" grpId="0"/>
      <p:bldP spid="5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E1C0201-6FDE-11CE-6417-AE4955E242A1}"/>
              </a:ext>
            </a:extLst>
          </p:cNvPr>
          <p:cNvSpPr/>
          <p:nvPr/>
        </p:nvSpPr>
        <p:spPr>
          <a:xfrm>
            <a:off x="6096000" y="1907888"/>
            <a:ext cx="5184000" cy="828000"/>
          </a:xfrm>
          <a:prstGeom prst="roundRect">
            <a:avLst/>
          </a:prstGeom>
          <a:solidFill>
            <a:srgbClr val="F5F9F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7410BEB-AC85-70EA-A0D4-37735AD823C9}"/>
              </a:ext>
            </a:extLst>
          </p:cNvPr>
          <p:cNvSpPr/>
          <p:nvPr/>
        </p:nvSpPr>
        <p:spPr>
          <a:xfrm>
            <a:off x="1155357" y="2069757"/>
            <a:ext cx="3600000" cy="540000"/>
          </a:xfrm>
          <a:prstGeom prst="roundRect">
            <a:avLst/>
          </a:prstGeom>
          <a:solidFill>
            <a:srgbClr val="F5F9F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941F6D-09D1-C401-1038-25B2D7688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ed Sparse Signal Recover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D1A9AE-62C4-1D28-5EB6-92E8C41A6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56AA20-5DFF-CEA4-F72D-5F443AB5A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13494E-F787-7289-F44D-72C2ED3C8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D6662B-D5CA-39C4-DF4C-D399CC2FCD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mplex Learned Fast Iterative Shrinkage-Thresholding Algorith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902EEA0-FECC-0F24-F903-1A71067FE9F4}"/>
                  </a:ext>
                </a:extLst>
              </p:cNvPr>
              <p:cNvSpPr txBox="1"/>
              <p:nvPr/>
            </p:nvSpPr>
            <p:spPr>
              <a:xfrm>
                <a:off x="1199425" y="2230394"/>
                <a:ext cx="347787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000" b="0" i="0" smtClean="0">
                          <a:latin typeface="Cambria Math" panose="02040503050406030204" pitchFamily="18" charset="0"/>
                        </a:rPr>
                        <m:t>LASSO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: </m:t>
                      </m:r>
                      <m:func>
                        <m:func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limLow>
                            <m:limLow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limLowPr>
                            <m:e>
                              <m:r>
                                <m:rPr>
                                  <m:sty m:val="p"/>
                                </m:rPr>
                                <a:rPr lang="en-US" sz="2000" b="0" i="0" smtClean="0">
                                  <a:latin typeface="Cambria Math" panose="02040503050406030204" pitchFamily="18" charset="0"/>
                                </a:rPr>
                                <m:t>min</m:t>
                              </m:r>
                            </m:e>
                            <m:lim>
                              <m:r>
                                <a:rPr lang="en-US" sz="2000" b="1" i="0" smtClean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lim>
                          </m:limLow>
                        </m:fName>
                        <m:e>
                          <m:sSubSup>
                            <m:sSubSup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2000" b="1" i="0" smtClean="0">
                                      <a:latin typeface="Cambria Math" panose="02040503050406030204" pitchFamily="18" charset="0"/>
                                    </a:rPr>
                                    <m:t>𝐀𝐱</m:t>
                                  </m:r>
                                  <m:r>
                                    <a:rPr lang="en-US" sz="2000" b="0" i="1" smtClean="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US" sz="2000" b="1" i="0" smtClean="0">
                                      <a:latin typeface="Cambria Math" panose="02040503050406030204" pitchFamily="18" charset="0"/>
                                    </a:rPr>
                                    <m:t>𝐲</m:t>
                                  </m:r>
                                </m:e>
                              </m:d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  <m:sup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de-DE" sz="2000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de-DE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  <m:sSub>
                            <m:sSubPr>
                              <m:ctrlPr>
                                <a:rPr lang="de-DE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de-DE" sz="2000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de-DE" sz="2000" b="1" i="0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𝐱</m:t>
                                  </m:r>
                                </m:e>
                              </m:d>
                            </m:e>
                            <m:sub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func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902EEA0-FECC-0F24-F903-1A71067FE9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9425" y="2230394"/>
                <a:ext cx="3477875" cy="256480"/>
              </a:xfrm>
              <a:prstGeom prst="rect">
                <a:avLst/>
              </a:prstGeom>
              <a:blipFill>
                <a:blip r:embed="rId2"/>
                <a:stretch>
                  <a:fillRect l="-1404" t="-45238" r="-351" b="-3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11009EE-926C-3B4E-D89B-8FA8587D0100}"/>
                  </a:ext>
                </a:extLst>
              </p:cNvPr>
              <p:cNvSpPr txBox="1"/>
              <p:nvPr/>
            </p:nvSpPr>
            <p:spPr>
              <a:xfrm>
                <a:off x="6145597" y="1929953"/>
                <a:ext cx="5084806" cy="7838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altLang="zh-CN" sz="2000">
                          <a:latin typeface="Cambria Math" panose="02040503050406030204" pitchFamily="18" charset="0"/>
                        </a:rPr>
                        <m:t>ISTA</m:t>
                      </m:r>
                      <m:r>
                        <a:rPr lang="de-DE" altLang="zh-CN" sz="2000" i="1">
                          <a:latin typeface="Cambria Math" panose="02040503050406030204" pitchFamily="18" charset="0"/>
                        </a:rPr>
                        <m:t>: </m:t>
                      </m:r>
                      <m:sSub>
                        <m:sSubPr>
                          <m:ctrlPr>
                            <a:rPr lang="de-DE" altLang="zh-CN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b="1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b>
                          <m:r>
                            <a:rPr lang="de-DE" altLang="zh-CN" sz="2000" i="1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de-DE" altLang="zh-CN" sz="2000" i="1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  <m:r>
                        <a:rPr lang="de-DE" altLang="zh-CN" sz="2000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altLang="zh-CN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f>
                            <m:fPr>
                              <m:type m:val="lin"/>
                              <m:ctrlPr>
                                <a:rPr lang="de-DE" altLang="zh-CN" sz="20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altLang="zh-CN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</m:num>
                            <m:den>
                              <m:r>
                                <a:rPr lang="de-DE" altLang="zh-CN" sz="2000" i="1"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den>
                          </m:f>
                        </m:sub>
                      </m:sSub>
                      <m:d>
                        <m:dPr>
                          <m:begChr m:val="{"/>
                          <m:endChr m:val="}"/>
                          <m:ctrlPr>
                            <a:rPr lang="de-DE" altLang="zh-CN" sz="20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d>
                            <m:dPr>
                              <m:ctrlPr>
                                <a:rPr lang="de-DE" altLang="zh-CN" sz="20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altLang="zh-CN" sz="2000" b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𝐈</m:t>
                              </m:r>
                              <m:r>
                                <a:rPr lang="de-DE" altLang="zh-CN" sz="2000" b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f>
                                <m:fPr>
                                  <m:ctrlPr>
                                    <a:rPr lang="de-DE" altLang="zh-CN" sz="2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de-DE" altLang="zh-CN" sz="2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de-DE" altLang="zh-CN" sz="2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𝐿</m:t>
                                  </m:r>
                                </m:den>
                              </m:f>
                              <m:sSup>
                                <m:sSupPr>
                                  <m:ctrlPr>
                                    <a:rPr lang="de-DE" altLang="zh-CN" sz="2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altLang="zh-CN" sz="2000" b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𝐀</m:t>
                                  </m:r>
                                </m:e>
                                <m:sup>
                                  <m:r>
                                    <m:rPr>
                                      <m:sty m:val="p"/>
                                    </m:rPr>
                                    <a:rPr lang="de-DE" altLang="zh-CN" sz="200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H</m:t>
                                  </m:r>
                                </m:sup>
                              </m:sSup>
                              <m:r>
                                <a:rPr lang="de-DE" altLang="zh-CN" sz="2000" b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𝐀</m:t>
                              </m:r>
                            </m:e>
                          </m:d>
                          <m:sSub>
                            <m:sSubPr>
                              <m:ctrlPr>
                                <a:rPr lang="de-DE" altLang="zh-CN" sz="2000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altLang="zh-CN" sz="2000" b="1" i="0" smtClean="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  <m:sub>
                              <m:r>
                                <a:rPr lang="de-DE" altLang="zh-CN" sz="2000" b="0" i="1" smtClean="0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  <m:r>
                            <a:rPr lang="de-DE" altLang="zh-CN" sz="2000" b="1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de-DE" altLang="zh-CN" sz="20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altLang="zh-CN" sz="2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de-DE" altLang="zh-CN" sz="2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den>
                          </m:f>
                          <m:sSup>
                            <m:sSupPr>
                              <m:ctrlPr>
                                <a:rPr lang="de-DE" altLang="zh-CN" sz="2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altLang="zh-CN" sz="2000" b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𝐀</m:t>
                              </m:r>
                            </m:e>
                            <m:sup>
                              <m:r>
                                <m:rPr>
                                  <m:sty m:val="p"/>
                                </m:rPr>
                                <a:rPr lang="de-DE" altLang="zh-CN" sz="20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sup>
                          </m:sSup>
                          <m:r>
                            <a:rPr lang="de-DE" altLang="zh-CN" sz="2000" b="1" i="0" smtClean="0">
                              <a:latin typeface="Cambria Math" panose="02040503050406030204" pitchFamily="18" charset="0"/>
                            </a:rPr>
                            <m:t>𝐲</m:t>
                          </m:r>
                        </m:e>
                      </m:d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11009EE-926C-3B4E-D89B-8FA8587D010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5597" y="1929953"/>
                <a:ext cx="5084806" cy="78386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Arrow: Right 13">
            <a:extLst>
              <a:ext uri="{FF2B5EF4-FFF2-40B4-BE49-F238E27FC236}">
                <a16:creationId xmlns:a16="http://schemas.microsoft.com/office/drawing/2014/main" id="{5EE0EB21-92C5-1325-8860-ACD8E19446CA}"/>
              </a:ext>
            </a:extLst>
          </p:cNvPr>
          <p:cNvSpPr/>
          <p:nvPr/>
        </p:nvSpPr>
        <p:spPr>
          <a:xfrm>
            <a:off x="5246505" y="2102554"/>
            <a:ext cx="449960" cy="438665"/>
          </a:xfrm>
          <a:prstGeom prst="rightArrow">
            <a:avLst/>
          </a:prstGeom>
          <a:noFill/>
          <a:ln w="19050">
            <a:solidFill>
              <a:srgbClr val="F3A8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BED0A02-E565-BFEE-1BA2-353420FE12D3}"/>
              </a:ext>
            </a:extLst>
          </p:cNvPr>
          <p:cNvSpPr/>
          <p:nvPr/>
        </p:nvSpPr>
        <p:spPr>
          <a:xfrm>
            <a:off x="8377881" y="1929952"/>
            <a:ext cx="1383957" cy="783869"/>
          </a:xfrm>
          <a:prstGeom prst="roundRect">
            <a:avLst/>
          </a:prstGeom>
          <a:noFill/>
          <a:ln w="190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0B2F4F4-711A-4F84-4666-E87F97557271}"/>
              </a:ext>
            </a:extLst>
          </p:cNvPr>
          <p:cNvSpPr/>
          <p:nvPr/>
        </p:nvSpPr>
        <p:spPr>
          <a:xfrm>
            <a:off x="10328619" y="1929952"/>
            <a:ext cx="545328" cy="783869"/>
          </a:xfrm>
          <a:prstGeom prst="round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0A9E218-C23D-4BF9-0712-ABC7AB006AD2}"/>
              </a:ext>
            </a:extLst>
          </p:cNvPr>
          <p:cNvSpPr/>
          <p:nvPr/>
        </p:nvSpPr>
        <p:spPr>
          <a:xfrm>
            <a:off x="2890141" y="3280095"/>
            <a:ext cx="179633" cy="82800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07939CB-E7A1-CE85-DF75-68ADF23EE1C8}"/>
              </a:ext>
            </a:extLst>
          </p:cNvPr>
          <p:cNvSpPr/>
          <p:nvPr/>
        </p:nvSpPr>
        <p:spPr>
          <a:xfrm>
            <a:off x="2890141" y="4268635"/>
            <a:ext cx="179633" cy="8280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69AAFA77-3609-DFC5-E6C4-CEF5CD2F17F9}"/>
                  </a:ext>
                </a:extLst>
              </p:cNvPr>
              <p:cNvSpPr/>
              <p:nvPr/>
            </p:nvSpPr>
            <p:spPr>
              <a:xfrm>
                <a:off x="886317" y="3935052"/>
                <a:ext cx="468000" cy="468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69AAFA77-3609-DFC5-E6C4-CEF5CD2F17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6317" y="3935052"/>
                <a:ext cx="468000" cy="4680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6909AA2A-0D7B-2C5B-F6E2-7F8F87BCEB18}"/>
                  </a:ext>
                </a:extLst>
              </p:cNvPr>
              <p:cNvSpPr/>
              <p:nvPr/>
            </p:nvSpPr>
            <p:spPr>
              <a:xfrm>
                <a:off x="1745112" y="3460095"/>
                <a:ext cx="468000" cy="468000"/>
              </a:xfrm>
              <a:prstGeom prst="round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6909AA2A-0D7B-2C5B-F6E2-7F8F87BCEB1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112" y="3460095"/>
                <a:ext cx="468000" cy="468000"/>
              </a:xfrm>
              <a:prstGeom prst="roundRect">
                <a:avLst/>
              </a:prstGeom>
              <a:blipFill>
                <a:blip r:embed="rId5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68087C78-8921-10FA-8B31-556633CE078C}"/>
                  </a:ext>
                </a:extLst>
              </p:cNvPr>
              <p:cNvSpPr/>
              <p:nvPr/>
            </p:nvSpPr>
            <p:spPr>
              <a:xfrm>
                <a:off x="1745112" y="4448635"/>
                <a:ext cx="468000" cy="468000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68087C78-8921-10FA-8B31-556633CE07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45112" y="4448635"/>
                <a:ext cx="468000" cy="468000"/>
              </a:xfrm>
              <a:prstGeom prst="roundRect">
                <a:avLst/>
              </a:prstGeom>
              <a:blipFill>
                <a:blip r:embed="rId6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6B58031-536B-7F4F-34E1-EC7AF6FFD050}"/>
                  </a:ext>
                </a:extLst>
              </p:cNvPr>
              <p:cNvSpPr txBox="1"/>
              <p:nvPr/>
            </p:nvSpPr>
            <p:spPr>
              <a:xfrm>
                <a:off x="2845465" y="2991315"/>
                <a:ext cx="307905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0" smtClean="0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𝐖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1600" b="0" i="0" smtClean="0"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accent1">
                      <a:lumMod val="60000"/>
                      <a:lumOff val="4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6B58031-536B-7F4F-34E1-EC7AF6FFD0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5465" y="2991315"/>
                <a:ext cx="307905" cy="256480"/>
              </a:xfrm>
              <a:prstGeom prst="rect">
                <a:avLst/>
              </a:prstGeom>
              <a:blipFill>
                <a:blip r:embed="rId7"/>
                <a:stretch>
                  <a:fillRect l="-16000" b="-47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49DE664-340B-C247-E06F-3BA29DE25995}"/>
                  </a:ext>
                </a:extLst>
              </p:cNvPr>
              <p:cNvSpPr txBox="1"/>
              <p:nvPr/>
            </p:nvSpPr>
            <p:spPr>
              <a:xfrm>
                <a:off x="2853072" y="5177892"/>
                <a:ext cx="285463" cy="2564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0" smtClean="0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𝐖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1600" b="0" i="0" smtClean="0">
                              <a:solidFill>
                                <a:schemeClr val="accent2">
                                  <a:lumMod val="60000"/>
                                  <a:lumOff val="40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accent2">
                      <a:lumMod val="60000"/>
                      <a:lumOff val="4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49DE664-340B-C247-E06F-3BA29DE259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53072" y="5177892"/>
                <a:ext cx="285463" cy="256480"/>
              </a:xfrm>
              <a:prstGeom prst="rect">
                <a:avLst/>
              </a:prstGeom>
              <a:blipFill>
                <a:blip r:embed="rId8"/>
                <a:stretch>
                  <a:fillRect l="-14894" r="-6383" b="-1190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46AA716A-C1C1-CCFA-5B41-AB59D0B3E90A}"/>
              </a:ext>
            </a:extLst>
          </p:cNvPr>
          <p:cNvSpPr/>
          <p:nvPr/>
        </p:nvSpPr>
        <p:spPr>
          <a:xfrm>
            <a:off x="2198622" y="3643597"/>
            <a:ext cx="661086" cy="75212"/>
          </a:xfrm>
          <a:custGeom>
            <a:avLst/>
            <a:gdLst>
              <a:gd name="connsiteX0" fmla="*/ 0 w 661086"/>
              <a:gd name="connsiteY0" fmla="*/ 38141 h 75212"/>
              <a:gd name="connsiteX1" fmla="*/ 259492 w 661086"/>
              <a:gd name="connsiteY1" fmla="*/ 1071 h 75212"/>
              <a:gd name="connsiteX2" fmla="*/ 661086 w 661086"/>
              <a:gd name="connsiteY2" fmla="*/ 75212 h 75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1086" h="75212">
                <a:moveTo>
                  <a:pt x="0" y="38141"/>
                </a:moveTo>
                <a:cubicBezTo>
                  <a:pt x="74655" y="16516"/>
                  <a:pt x="149311" y="-5108"/>
                  <a:pt x="259492" y="1071"/>
                </a:cubicBezTo>
                <a:cubicBezTo>
                  <a:pt x="369673" y="7249"/>
                  <a:pt x="515379" y="41230"/>
                  <a:pt x="661086" y="75212"/>
                </a:cubicBezTo>
              </a:path>
            </a:pathLst>
          </a:custGeom>
          <a:noFill/>
          <a:ln w="19050">
            <a:solidFill>
              <a:schemeClr val="accent6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E8F7A8D-A332-C8B9-32D4-F7826D680E15}"/>
              </a:ext>
            </a:extLst>
          </p:cNvPr>
          <p:cNvSpPr/>
          <p:nvPr/>
        </p:nvSpPr>
        <p:spPr>
          <a:xfrm>
            <a:off x="2186265" y="3811484"/>
            <a:ext cx="673443" cy="722870"/>
          </a:xfrm>
          <a:custGeom>
            <a:avLst/>
            <a:gdLst>
              <a:gd name="connsiteX0" fmla="*/ 0 w 673443"/>
              <a:gd name="connsiteY0" fmla="*/ 0 h 722870"/>
              <a:gd name="connsiteX1" fmla="*/ 333632 w 673443"/>
              <a:gd name="connsiteY1" fmla="*/ 117389 h 722870"/>
              <a:gd name="connsiteX2" fmla="*/ 475735 w 673443"/>
              <a:gd name="connsiteY2" fmla="*/ 599303 h 722870"/>
              <a:gd name="connsiteX3" fmla="*/ 673443 w 673443"/>
              <a:gd name="connsiteY3" fmla="*/ 722870 h 722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443" h="722870">
                <a:moveTo>
                  <a:pt x="0" y="0"/>
                </a:moveTo>
                <a:cubicBezTo>
                  <a:pt x="127171" y="8752"/>
                  <a:pt x="254343" y="17505"/>
                  <a:pt x="333632" y="117389"/>
                </a:cubicBezTo>
                <a:cubicBezTo>
                  <a:pt x="412921" y="217273"/>
                  <a:pt x="419100" y="498390"/>
                  <a:pt x="475735" y="599303"/>
                </a:cubicBezTo>
                <a:cubicBezTo>
                  <a:pt x="532370" y="700216"/>
                  <a:pt x="602906" y="711543"/>
                  <a:pt x="673443" y="722870"/>
                </a:cubicBezTo>
              </a:path>
            </a:pathLst>
          </a:custGeom>
          <a:noFill/>
          <a:ln w="19050">
            <a:solidFill>
              <a:schemeClr val="accent6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7D5DB96-2635-B84F-DF34-E97E611AC560}"/>
              </a:ext>
            </a:extLst>
          </p:cNvPr>
          <p:cNvSpPr/>
          <p:nvPr/>
        </p:nvSpPr>
        <p:spPr>
          <a:xfrm>
            <a:off x="2198622" y="4769133"/>
            <a:ext cx="630194" cy="91615"/>
          </a:xfrm>
          <a:custGeom>
            <a:avLst/>
            <a:gdLst>
              <a:gd name="connsiteX0" fmla="*/ 0 w 630194"/>
              <a:gd name="connsiteY0" fmla="*/ 0 h 91615"/>
              <a:gd name="connsiteX1" fmla="*/ 401594 w 630194"/>
              <a:gd name="connsiteY1" fmla="*/ 86497 h 91615"/>
              <a:gd name="connsiteX2" fmla="*/ 630194 w 630194"/>
              <a:gd name="connsiteY2" fmla="*/ 74140 h 91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0194" h="91615">
                <a:moveTo>
                  <a:pt x="0" y="0"/>
                </a:moveTo>
                <a:cubicBezTo>
                  <a:pt x="148281" y="37070"/>
                  <a:pt x="296562" y="74140"/>
                  <a:pt x="401594" y="86497"/>
                </a:cubicBezTo>
                <a:cubicBezTo>
                  <a:pt x="506626" y="98854"/>
                  <a:pt x="568410" y="86497"/>
                  <a:pt x="630194" y="74140"/>
                </a:cubicBezTo>
              </a:path>
            </a:pathLst>
          </a:custGeom>
          <a:noFill/>
          <a:ln w="19050">
            <a:solidFill>
              <a:schemeClr val="accent5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2119BC98-6734-8945-1A85-9EF0AB3E9CAF}"/>
              </a:ext>
            </a:extLst>
          </p:cNvPr>
          <p:cNvSpPr/>
          <p:nvPr/>
        </p:nvSpPr>
        <p:spPr>
          <a:xfrm>
            <a:off x="2204800" y="3891803"/>
            <a:ext cx="642551" cy="704335"/>
          </a:xfrm>
          <a:custGeom>
            <a:avLst/>
            <a:gdLst>
              <a:gd name="connsiteX0" fmla="*/ 0 w 642551"/>
              <a:gd name="connsiteY0" fmla="*/ 704335 h 704335"/>
              <a:gd name="connsiteX1" fmla="*/ 49427 w 642551"/>
              <a:gd name="connsiteY1" fmla="*/ 685800 h 704335"/>
              <a:gd name="connsiteX2" fmla="*/ 271849 w 642551"/>
              <a:gd name="connsiteY2" fmla="*/ 648730 h 704335"/>
              <a:gd name="connsiteX3" fmla="*/ 451022 w 642551"/>
              <a:gd name="connsiteY3" fmla="*/ 154460 h 704335"/>
              <a:gd name="connsiteX4" fmla="*/ 642551 w 642551"/>
              <a:gd name="connsiteY4" fmla="*/ 0 h 704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2551" h="704335">
                <a:moveTo>
                  <a:pt x="0" y="704335"/>
                </a:moveTo>
                <a:cubicBezTo>
                  <a:pt x="2059" y="699701"/>
                  <a:pt x="4119" y="695067"/>
                  <a:pt x="49427" y="685800"/>
                </a:cubicBezTo>
                <a:cubicBezTo>
                  <a:pt x="94735" y="676533"/>
                  <a:pt x="204916" y="737287"/>
                  <a:pt x="271849" y="648730"/>
                </a:cubicBezTo>
                <a:cubicBezTo>
                  <a:pt x="338782" y="560173"/>
                  <a:pt x="389238" y="262582"/>
                  <a:pt x="451022" y="154460"/>
                </a:cubicBezTo>
                <a:cubicBezTo>
                  <a:pt x="512806" y="46338"/>
                  <a:pt x="577678" y="23169"/>
                  <a:pt x="642551" y="0"/>
                </a:cubicBezTo>
              </a:path>
            </a:pathLst>
          </a:custGeom>
          <a:noFill/>
          <a:ln w="19050">
            <a:solidFill>
              <a:schemeClr val="accent5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AC2A4687-C384-B75E-215F-E6177D011603}"/>
              </a:ext>
            </a:extLst>
          </p:cNvPr>
          <p:cNvSpPr/>
          <p:nvPr/>
        </p:nvSpPr>
        <p:spPr>
          <a:xfrm>
            <a:off x="1148297" y="3641984"/>
            <a:ext cx="574590" cy="280711"/>
          </a:xfrm>
          <a:custGeom>
            <a:avLst/>
            <a:gdLst>
              <a:gd name="connsiteX0" fmla="*/ 0 w 574590"/>
              <a:gd name="connsiteY0" fmla="*/ 280711 h 280711"/>
              <a:gd name="connsiteX1" fmla="*/ 105033 w 574590"/>
              <a:gd name="connsiteY1" fmla="*/ 33576 h 280711"/>
              <a:gd name="connsiteX2" fmla="*/ 574590 w 574590"/>
              <a:gd name="connsiteY2" fmla="*/ 8862 h 280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4590" h="280711">
                <a:moveTo>
                  <a:pt x="0" y="280711"/>
                </a:moveTo>
                <a:cubicBezTo>
                  <a:pt x="4634" y="179797"/>
                  <a:pt x="9268" y="78884"/>
                  <a:pt x="105033" y="33576"/>
                </a:cubicBezTo>
                <a:cubicBezTo>
                  <a:pt x="200798" y="-11732"/>
                  <a:pt x="387694" y="-1435"/>
                  <a:pt x="574590" y="8862"/>
                </a:cubicBezTo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79B5411A-E9C7-2385-2862-70CB32C82CD2}"/>
              </a:ext>
            </a:extLst>
          </p:cNvPr>
          <p:cNvSpPr/>
          <p:nvPr/>
        </p:nvSpPr>
        <p:spPr>
          <a:xfrm>
            <a:off x="1135941" y="4404609"/>
            <a:ext cx="586946" cy="370554"/>
          </a:xfrm>
          <a:custGeom>
            <a:avLst/>
            <a:gdLst>
              <a:gd name="connsiteX0" fmla="*/ 0 w 586946"/>
              <a:gd name="connsiteY0" fmla="*/ 0 h 370554"/>
              <a:gd name="connsiteX1" fmla="*/ 105032 w 586946"/>
              <a:gd name="connsiteY1" fmla="*/ 339810 h 370554"/>
              <a:gd name="connsiteX2" fmla="*/ 586946 w 586946"/>
              <a:gd name="connsiteY2" fmla="*/ 333632 h 370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86946" h="370554">
                <a:moveTo>
                  <a:pt x="0" y="0"/>
                </a:moveTo>
                <a:cubicBezTo>
                  <a:pt x="3604" y="142102"/>
                  <a:pt x="7208" y="284205"/>
                  <a:pt x="105032" y="339810"/>
                </a:cubicBezTo>
                <a:cubicBezTo>
                  <a:pt x="202856" y="395415"/>
                  <a:pt x="394901" y="364523"/>
                  <a:pt x="586946" y="333632"/>
                </a:cubicBezTo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39A58730-F53F-D08F-78B9-5BF8ADD53B58}"/>
                  </a:ext>
                </a:extLst>
              </p:cNvPr>
              <p:cNvSpPr/>
              <p:nvPr/>
            </p:nvSpPr>
            <p:spPr>
              <a:xfrm>
                <a:off x="3827225" y="3478736"/>
                <a:ext cx="1656000" cy="468000"/>
              </a:xfrm>
              <a:prstGeom prst="round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de-DE" sz="20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𝐖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20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r</m:t>
                              </m:r>
                            </m:sub>
                          </m:sSub>
                          <m:r>
                            <a:rPr lang="de-DE" altLang="zh-CN" sz="2000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  <m:r>
                        <a:rPr lang="de-DE" sz="20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2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𝐖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</m:sub>
                      </m:sSub>
                      <m:sSub>
                        <m:sSubPr>
                          <m:ctrlPr>
                            <a:rPr lang="de-DE" sz="2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39A58730-F53F-D08F-78B9-5BF8ADD53B5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7225" y="3478736"/>
                <a:ext cx="1656000" cy="468000"/>
              </a:xfrm>
              <a:prstGeom prst="roundRect">
                <a:avLst/>
              </a:prstGeom>
              <a:blipFill>
                <a:blip r:embed="rId9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0A0DE9FF-00D4-29D4-EEBB-2DAC7015B1D7}"/>
                  </a:ext>
                </a:extLst>
              </p:cNvPr>
              <p:cNvSpPr/>
              <p:nvPr/>
            </p:nvSpPr>
            <p:spPr>
              <a:xfrm>
                <a:off x="3827225" y="4454814"/>
                <a:ext cx="1656000" cy="468000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de-DE" sz="20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2000" b="1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𝐖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20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r</m:t>
                              </m:r>
                            </m:sub>
                          </m:sSub>
                          <m:r>
                            <a:rPr lang="de-DE" altLang="zh-CN" sz="2000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</m:sub>
                      </m:sSub>
                      <m:r>
                        <a:rPr lang="de-DE" sz="20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2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𝐖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</m:sub>
                      </m:sSub>
                      <m:sSub>
                        <m:sSubPr>
                          <m:ctrlPr>
                            <a:rPr lang="de-DE" sz="2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000" b="1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de-DE" sz="2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r</m:t>
                          </m:r>
                        </m:sub>
                      </m:sSub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0A0DE9FF-00D4-29D4-EEBB-2DAC7015B1D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7225" y="4454814"/>
                <a:ext cx="1656000" cy="468000"/>
              </a:xfrm>
              <a:prstGeom prst="roundRect">
                <a:avLst/>
              </a:prstGeom>
              <a:blipFill>
                <a:blip r:embed="rId10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9B6B755-8962-A36B-34B4-77020B3BFF85}"/>
              </a:ext>
            </a:extLst>
          </p:cNvPr>
          <p:cNvSpPr/>
          <p:nvPr/>
        </p:nvSpPr>
        <p:spPr>
          <a:xfrm>
            <a:off x="3127971" y="3629531"/>
            <a:ext cx="618831" cy="181954"/>
          </a:xfrm>
          <a:custGeom>
            <a:avLst/>
            <a:gdLst>
              <a:gd name="connsiteX0" fmla="*/ 0 w 531340"/>
              <a:gd name="connsiteY0" fmla="*/ 52208 h 209973"/>
              <a:gd name="connsiteX1" fmla="*/ 203886 w 531340"/>
              <a:gd name="connsiteY1" fmla="*/ 8959 h 209973"/>
              <a:gd name="connsiteX2" fmla="*/ 111211 w 531340"/>
              <a:gd name="connsiteY2" fmla="*/ 206667 h 209973"/>
              <a:gd name="connsiteX3" fmla="*/ 531340 w 531340"/>
              <a:gd name="connsiteY3" fmla="*/ 113991 h 209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340" h="209973">
                <a:moveTo>
                  <a:pt x="0" y="52208"/>
                </a:moveTo>
                <a:cubicBezTo>
                  <a:pt x="92675" y="17712"/>
                  <a:pt x="185351" y="-16784"/>
                  <a:pt x="203886" y="8959"/>
                </a:cubicBezTo>
                <a:cubicBezTo>
                  <a:pt x="222421" y="34702"/>
                  <a:pt x="56635" y="189162"/>
                  <a:pt x="111211" y="206667"/>
                </a:cubicBezTo>
                <a:cubicBezTo>
                  <a:pt x="165787" y="224172"/>
                  <a:pt x="348563" y="169081"/>
                  <a:pt x="531340" y="113991"/>
                </a:cubicBezTo>
              </a:path>
            </a:pathLst>
          </a:custGeom>
          <a:noFill/>
          <a:ln w="19050"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389CCC66-E9D3-E366-0B75-BBD987C8E952}"/>
              </a:ext>
            </a:extLst>
          </p:cNvPr>
          <p:cNvSpPr/>
          <p:nvPr/>
        </p:nvSpPr>
        <p:spPr>
          <a:xfrm>
            <a:off x="3127970" y="4592391"/>
            <a:ext cx="618831" cy="181954"/>
          </a:xfrm>
          <a:custGeom>
            <a:avLst/>
            <a:gdLst>
              <a:gd name="connsiteX0" fmla="*/ 0 w 531340"/>
              <a:gd name="connsiteY0" fmla="*/ 52208 h 209973"/>
              <a:gd name="connsiteX1" fmla="*/ 203886 w 531340"/>
              <a:gd name="connsiteY1" fmla="*/ 8959 h 209973"/>
              <a:gd name="connsiteX2" fmla="*/ 111211 w 531340"/>
              <a:gd name="connsiteY2" fmla="*/ 206667 h 209973"/>
              <a:gd name="connsiteX3" fmla="*/ 531340 w 531340"/>
              <a:gd name="connsiteY3" fmla="*/ 113991 h 209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340" h="209973">
                <a:moveTo>
                  <a:pt x="0" y="52208"/>
                </a:moveTo>
                <a:cubicBezTo>
                  <a:pt x="92675" y="17712"/>
                  <a:pt x="185351" y="-16784"/>
                  <a:pt x="203886" y="8959"/>
                </a:cubicBezTo>
                <a:cubicBezTo>
                  <a:pt x="222421" y="34702"/>
                  <a:pt x="56635" y="189162"/>
                  <a:pt x="111211" y="206667"/>
                </a:cubicBezTo>
                <a:cubicBezTo>
                  <a:pt x="165787" y="224172"/>
                  <a:pt x="348563" y="169081"/>
                  <a:pt x="531340" y="113991"/>
                </a:cubicBezTo>
              </a:path>
            </a:pathLst>
          </a:custGeom>
          <a:noFill/>
          <a:ln w="19050">
            <a:solidFill>
              <a:schemeClr val="accent2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3B0782B2-4A3B-7447-C36F-57D6EC4CDA2F}"/>
              </a:ext>
            </a:extLst>
          </p:cNvPr>
          <p:cNvSpPr/>
          <p:nvPr/>
        </p:nvSpPr>
        <p:spPr>
          <a:xfrm>
            <a:off x="754640" y="2897084"/>
            <a:ext cx="4937359" cy="3003267"/>
          </a:xfrm>
          <a:prstGeom prst="round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5ED58CD-4EB9-AED1-6C08-9DDB30F0C003}"/>
              </a:ext>
            </a:extLst>
          </p:cNvPr>
          <p:cNvSpPr txBox="1"/>
          <p:nvPr/>
        </p:nvSpPr>
        <p:spPr>
          <a:xfrm>
            <a:off x="1761272" y="5583874"/>
            <a:ext cx="2733396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mplex-Valued Linear Laye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1F0C8D4-9ED0-811E-A5ED-93932789539E}"/>
              </a:ext>
            </a:extLst>
          </p:cNvPr>
          <p:cNvSpPr/>
          <p:nvPr/>
        </p:nvSpPr>
        <p:spPr>
          <a:xfrm>
            <a:off x="9447200" y="4477376"/>
            <a:ext cx="1080000" cy="504000"/>
          </a:xfrm>
          <a:prstGeom prst="roundRect">
            <a:avLst/>
          </a:prstGeom>
          <a:noFill/>
          <a:ln w="190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Complex Linear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218BD44-B9C2-C989-F60D-B95E5016D0A5}"/>
              </a:ext>
            </a:extLst>
          </p:cNvPr>
          <p:cNvSpPr/>
          <p:nvPr/>
        </p:nvSpPr>
        <p:spPr>
          <a:xfrm>
            <a:off x="6985904" y="3377531"/>
            <a:ext cx="1080000" cy="504000"/>
          </a:xfrm>
          <a:prstGeom prst="round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US" altLang="zh-CN" dirty="0">
                <a:solidFill>
                  <a:schemeClr val="accent5">
                    <a:lumMod val="75000"/>
                  </a:schemeClr>
                </a:solidFill>
              </a:rPr>
              <a:t>Complex Linea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7AB4BADB-9D19-2F47-AF51-DE41629F66E2}"/>
                  </a:ext>
                </a:extLst>
              </p:cNvPr>
              <p:cNvSpPr/>
              <p:nvPr/>
            </p:nvSpPr>
            <p:spPr>
              <a:xfrm>
                <a:off x="6240676" y="3395531"/>
                <a:ext cx="468000" cy="468000"/>
              </a:xfrm>
              <a:prstGeom prst="round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7AB4BADB-9D19-2F47-AF51-DE41629F66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40676" y="3395531"/>
                <a:ext cx="468000" cy="468000"/>
              </a:xfrm>
              <a:prstGeom prst="roundRect">
                <a:avLst/>
              </a:prstGeom>
              <a:blipFill>
                <a:blip r:embed="rId11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F84D3D12-11DB-960B-1828-04CD00BBB150}"/>
                  </a:ext>
                </a:extLst>
              </p:cNvPr>
              <p:cNvSpPr/>
              <p:nvPr/>
            </p:nvSpPr>
            <p:spPr>
              <a:xfrm>
                <a:off x="8450793" y="4476253"/>
                <a:ext cx="720000" cy="504000"/>
              </a:xfrm>
              <a:prstGeom prst="roundRect">
                <a:avLst/>
              </a:prstGeom>
              <a:noFill/>
              <a:ln w="19050">
                <a:solidFill>
                  <a:srgbClr val="D7747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altLang="zh-CN" sz="2000" i="1" smtClean="0">
                              <a:solidFill>
                                <a:srgbClr val="D7747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altLang="zh-CN" sz="2000" i="1">
                              <a:solidFill>
                                <a:srgbClr val="D77470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f>
                            <m:fPr>
                              <m:type m:val="lin"/>
                              <m:ctrlPr>
                                <a:rPr lang="de-DE" altLang="zh-CN" sz="2000" i="1">
                                  <a:solidFill>
                                    <a:srgbClr val="D7747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altLang="zh-CN" sz="2000" i="1">
                                  <a:solidFill>
                                    <a:srgbClr val="D7747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</m:num>
                            <m:den>
                              <m:r>
                                <a:rPr lang="de-DE" altLang="zh-CN" sz="2000" i="1">
                                  <a:solidFill>
                                    <a:srgbClr val="D77470"/>
                                  </a:solidFill>
                                  <a:latin typeface="Cambria Math" panose="02040503050406030204" pitchFamily="18" charset="0"/>
                                </a:rPr>
                                <m:t>𝐿</m:t>
                              </m:r>
                            </m:den>
                          </m:f>
                        </m:sub>
                      </m:sSub>
                    </m:oMath>
                  </m:oMathPara>
                </a14:m>
                <a:endParaRPr lang="en-US" dirty="0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F84D3D12-11DB-960B-1828-04CD00BBB15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50793" y="4476253"/>
                <a:ext cx="720000" cy="504000"/>
              </a:xfrm>
              <a:prstGeom prst="roundRect">
                <a:avLst/>
              </a:prstGeom>
              <a:blipFill>
                <a:blip r:embed="rId12"/>
                <a:stretch>
                  <a:fillRect t="-37209" r="-47107" b="-91860"/>
                </a:stretch>
              </a:blipFill>
              <a:ln w="19050">
                <a:solidFill>
                  <a:srgbClr val="D77470"/>
                </a:solidFill>
                <a:prstDash val="solid"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48AA4789-6984-E008-2B32-3A200C8C7688}"/>
              </a:ext>
            </a:extLst>
          </p:cNvPr>
          <p:cNvCxnSpPr>
            <a:stCxn id="15" idx="3"/>
            <a:endCxn id="10" idx="1"/>
          </p:cNvCxnSpPr>
          <p:nvPr/>
        </p:nvCxnSpPr>
        <p:spPr>
          <a:xfrm>
            <a:off x="6708676" y="3629531"/>
            <a:ext cx="277228" cy="0"/>
          </a:xfrm>
          <a:prstGeom prst="straightConnector1">
            <a:avLst/>
          </a:prstGeom>
          <a:ln w="19050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25AFB6F3-1192-9ADA-2D65-F5535E7A0D06}"/>
              </a:ext>
            </a:extLst>
          </p:cNvPr>
          <p:cNvSpPr/>
          <p:nvPr/>
        </p:nvSpPr>
        <p:spPr>
          <a:xfrm>
            <a:off x="10803607" y="4549376"/>
            <a:ext cx="360000" cy="360000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Plus Sign 34">
            <a:extLst>
              <a:ext uri="{FF2B5EF4-FFF2-40B4-BE49-F238E27FC236}">
                <a16:creationId xmlns:a16="http://schemas.microsoft.com/office/drawing/2014/main" id="{66983339-C3A9-1DE7-65F7-23FDE25D497B}"/>
              </a:ext>
            </a:extLst>
          </p:cNvPr>
          <p:cNvSpPr/>
          <p:nvPr/>
        </p:nvSpPr>
        <p:spPr>
          <a:xfrm>
            <a:off x="10803607" y="4548253"/>
            <a:ext cx="360000" cy="360000"/>
          </a:xfrm>
          <a:prstGeom prst="mathPlus">
            <a:avLst>
              <a:gd name="adj1" fmla="val 13688"/>
            </a:avLst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0F7DFC21-4806-B6EE-7841-82787D6596E6}"/>
              </a:ext>
            </a:extLst>
          </p:cNvPr>
          <p:cNvCxnSpPr>
            <a:stCxn id="10" idx="3"/>
            <a:endCxn id="34" idx="0"/>
          </p:cNvCxnSpPr>
          <p:nvPr/>
        </p:nvCxnSpPr>
        <p:spPr>
          <a:xfrm>
            <a:off x="8065904" y="3629531"/>
            <a:ext cx="2917703" cy="919845"/>
          </a:xfrm>
          <a:prstGeom prst="bentConnector2">
            <a:avLst/>
          </a:prstGeom>
          <a:ln w="19050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83EBEFD4-C0A2-9B46-3752-2777A1B58560}"/>
              </a:ext>
            </a:extLst>
          </p:cNvPr>
          <p:cNvCxnSpPr>
            <a:stCxn id="10" idx="3"/>
            <a:endCxn id="16" idx="1"/>
          </p:cNvCxnSpPr>
          <p:nvPr/>
        </p:nvCxnSpPr>
        <p:spPr>
          <a:xfrm>
            <a:off x="8065904" y="3629531"/>
            <a:ext cx="384889" cy="1098722"/>
          </a:xfrm>
          <a:prstGeom prst="bentConnector3">
            <a:avLst>
              <a:gd name="adj1" fmla="val 35553"/>
            </a:avLst>
          </a:prstGeom>
          <a:ln w="19050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33BB21A0-DFCF-F2DA-5599-C3312AC15FCF}"/>
              </a:ext>
            </a:extLst>
          </p:cNvPr>
          <p:cNvCxnSpPr>
            <a:stCxn id="16" idx="3"/>
            <a:endCxn id="7" idx="1"/>
          </p:cNvCxnSpPr>
          <p:nvPr/>
        </p:nvCxnSpPr>
        <p:spPr>
          <a:xfrm>
            <a:off x="9170793" y="4728253"/>
            <a:ext cx="276407" cy="1123"/>
          </a:xfrm>
          <a:prstGeom prst="straightConnector1">
            <a:avLst/>
          </a:prstGeom>
          <a:ln w="19050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39749A29-44E8-A165-5035-A588AFD2D4C9}"/>
              </a:ext>
            </a:extLst>
          </p:cNvPr>
          <p:cNvCxnSpPr>
            <a:cxnSpLocks/>
            <a:stCxn id="7" idx="3"/>
            <a:endCxn id="34" idx="2"/>
          </p:cNvCxnSpPr>
          <p:nvPr/>
        </p:nvCxnSpPr>
        <p:spPr>
          <a:xfrm>
            <a:off x="10527200" y="4729376"/>
            <a:ext cx="276407" cy="0"/>
          </a:xfrm>
          <a:prstGeom prst="straightConnector1">
            <a:avLst/>
          </a:prstGeom>
          <a:ln w="19050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81495C68-7294-F35D-6CE4-C84181D9054D}"/>
              </a:ext>
            </a:extLst>
          </p:cNvPr>
          <p:cNvCxnSpPr>
            <a:cxnSpLocks/>
            <a:stCxn id="34" idx="6"/>
          </p:cNvCxnSpPr>
          <p:nvPr/>
        </p:nvCxnSpPr>
        <p:spPr>
          <a:xfrm>
            <a:off x="11163607" y="4729376"/>
            <a:ext cx="431620" cy="0"/>
          </a:xfrm>
          <a:prstGeom prst="straightConnector1">
            <a:avLst/>
          </a:prstGeom>
          <a:ln w="19050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C7B4618B-EE71-2890-EA8C-890410D4EBD6}"/>
              </a:ext>
            </a:extLst>
          </p:cNvPr>
          <p:cNvCxnSpPr>
            <a:cxnSpLocks/>
          </p:cNvCxnSpPr>
          <p:nvPr/>
        </p:nvCxnSpPr>
        <p:spPr>
          <a:xfrm>
            <a:off x="10983607" y="3629531"/>
            <a:ext cx="611620" cy="0"/>
          </a:xfrm>
          <a:prstGeom prst="straightConnector1">
            <a:avLst/>
          </a:prstGeom>
          <a:ln w="19050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Speech Bubble: Oval 60">
            <a:extLst>
              <a:ext uri="{FF2B5EF4-FFF2-40B4-BE49-F238E27FC236}">
                <a16:creationId xmlns:a16="http://schemas.microsoft.com/office/drawing/2014/main" id="{8523785C-3C6E-E0E5-80E8-7C5FCF6ABD19}"/>
              </a:ext>
            </a:extLst>
          </p:cNvPr>
          <p:cNvSpPr/>
          <p:nvPr/>
        </p:nvSpPr>
        <p:spPr>
          <a:xfrm rot="10800000">
            <a:off x="6281781" y="5145905"/>
            <a:ext cx="2286504" cy="858978"/>
          </a:xfrm>
          <a:prstGeom prst="wedgeEllipseCallout">
            <a:avLst>
              <a:gd name="adj1" fmla="val -44611"/>
              <a:gd name="adj2" fmla="val 80482"/>
            </a:avLst>
          </a:prstGeom>
          <a:noFill/>
          <a:ln w="19050">
            <a:solidFill>
              <a:srgbClr val="D7747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89F790C-3D01-8B97-0484-5B3B1AE146C9}"/>
              </a:ext>
            </a:extLst>
          </p:cNvPr>
          <p:cNvSpPr txBox="1"/>
          <p:nvPr/>
        </p:nvSpPr>
        <p:spPr>
          <a:xfrm>
            <a:off x="6474936" y="5450731"/>
            <a:ext cx="2039129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hase remains same</a:t>
            </a:r>
          </a:p>
        </p:txBody>
      </p:sp>
    </p:spTree>
    <p:extLst>
      <p:ext uri="{BB962C8B-B14F-4D97-AF65-F5344CB8AC3E}">
        <p14:creationId xmlns:p14="http://schemas.microsoft.com/office/powerpoint/2010/main" val="2324087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9" grpId="0" animBg="1"/>
      <p:bldP spid="8" grpId="0"/>
      <p:bldP spid="12" grpId="0"/>
      <p:bldP spid="14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/>
      <p:bldP spid="25" grpId="0"/>
      <p:bldP spid="26" grpId="0" animBg="1"/>
      <p:bldP spid="27" grpId="0" animBg="1"/>
      <p:bldP spid="28" grpId="0" animBg="1"/>
      <p:bldP spid="30" grpId="0" animBg="1"/>
      <p:bldP spid="32" grpId="0" animBg="1"/>
      <p:bldP spid="33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/>
      <p:bldP spid="7" grpId="0" animBg="1"/>
      <p:bldP spid="10" grpId="0" animBg="1"/>
      <p:bldP spid="15" grpId="0" animBg="1"/>
      <p:bldP spid="16" grpId="0" animBg="1"/>
      <p:bldP spid="34" grpId="0" animBg="1"/>
      <p:bldP spid="35" grpId="0" animBg="1"/>
      <p:bldP spid="61" grpId="0" animBg="1"/>
      <p:bldP spid="6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9989A7-6978-A2C2-B339-8A6D70751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Network Archite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9092EE-47EF-A2D6-A610-1D5EE02AA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EECF4C-2A3E-891B-300D-8C2245F1A7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F1FA86-E9B3-AF8B-E5AF-8DE179687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297D66-316F-963E-D878-163285EDD9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ask-based supervised learning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18CCF5C-227C-C0ED-1513-89E5BBB6F1FC}"/>
              </a:ext>
            </a:extLst>
          </p:cNvPr>
          <p:cNvGrpSpPr/>
          <p:nvPr/>
        </p:nvGrpSpPr>
        <p:grpSpPr>
          <a:xfrm>
            <a:off x="6446289" y="2609581"/>
            <a:ext cx="432000" cy="432000"/>
            <a:chOff x="4207476" y="3560212"/>
            <a:chExt cx="432000" cy="43200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DE89DD9-CFC9-FE73-329D-A140BBF31416}"/>
                </a:ext>
              </a:extLst>
            </p:cNvPr>
            <p:cNvSpPr/>
            <p:nvPr/>
          </p:nvSpPr>
          <p:spPr>
            <a:xfrm>
              <a:off x="4207476" y="3560212"/>
              <a:ext cx="432000" cy="432000"/>
            </a:xfrm>
            <a:prstGeom prst="ellipse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8106AD3E-C75B-F404-8E00-7289F8D79541}"/>
                </a:ext>
              </a:extLst>
            </p:cNvPr>
            <p:cNvSpPr/>
            <p:nvPr/>
          </p:nvSpPr>
          <p:spPr>
            <a:xfrm>
              <a:off x="4369476" y="3722212"/>
              <a:ext cx="108000" cy="10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83A2837F-71C1-6483-5D2A-9D685FF98413}"/>
                  </a:ext>
                </a:extLst>
              </p:cNvPr>
              <p:cNvSpPr/>
              <p:nvPr/>
            </p:nvSpPr>
            <p:spPr>
              <a:xfrm>
                <a:off x="10228728" y="2609581"/>
                <a:ext cx="468000" cy="468000"/>
              </a:xfrm>
              <a:prstGeom prst="round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20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DE" altLang="zh-CN" sz="2000" b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</m:acc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83A2837F-71C1-6483-5D2A-9D685FF9841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28728" y="2609581"/>
                <a:ext cx="468000" cy="468000"/>
              </a:xfrm>
              <a:prstGeom prst="roundRect">
                <a:avLst/>
              </a:prstGeom>
              <a:blipFill>
                <a:blip r:embed="rId2"/>
                <a:stretch>
                  <a:fillRect t="-3896" r="-6494"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6" name="Group 45">
            <a:extLst>
              <a:ext uri="{FF2B5EF4-FFF2-40B4-BE49-F238E27FC236}">
                <a16:creationId xmlns:a16="http://schemas.microsoft.com/office/drawing/2014/main" id="{302415DD-A066-1D3B-D4EF-1E47E767A382}"/>
              </a:ext>
            </a:extLst>
          </p:cNvPr>
          <p:cNvGrpSpPr/>
          <p:nvPr/>
        </p:nvGrpSpPr>
        <p:grpSpPr>
          <a:xfrm>
            <a:off x="7911806" y="2268945"/>
            <a:ext cx="1083459" cy="1168636"/>
            <a:chOff x="7800705" y="1709534"/>
            <a:chExt cx="1083459" cy="1168636"/>
          </a:xfrm>
        </p:grpSpPr>
        <p:sp>
          <p:nvSpPr>
            <p:cNvPr id="21" name="Flowchart: Manual Operation 20">
              <a:extLst>
                <a:ext uri="{FF2B5EF4-FFF2-40B4-BE49-F238E27FC236}">
                  <a16:creationId xmlns:a16="http://schemas.microsoft.com/office/drawing/2014/main" id="{C2A36D2A-85C1-CBCC-1FBD-F0B87ADB5D36}"/>
                </a:ext>
              </a:extLst>
            </p:cNvPr>
            <p:cNvSpPr/>
            <p:nvPr/>
          </p:nvSpPr>
          <p:spPr>
            <a:xfrm rot="16200000">
              <a:off x="7764705" y="1745534"/>
              <a:ext cx="792000" cy="720000"/>
            </a:xfrm>
            <a:prstGeom prst="flowChartManualOperation">
              <a:avLst/>
            </a:prstGeom>
            <a:solidFill>
              <a:srgbClr val="FBE5C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Flowchart: Manual Operation 21">
              <a:extLst>
                <a:ext uri="{FF2B5EF4-FFF2-40B4-BE49-F238E27FC236}">
                  <a16:creationId xmlns:a16="http://schemas.microsoft.com/office/drawing/2014/main" id="{22D21311-5EDA-783B-6AD2-9043BDE217E0}"/>
                </a:ext>
              </a:extLst>
            </p:cNvPr>
            <p:cNvSpPr/>
            <p:nvPr/>
          </p:nvSpPr>
          <p:spPr>
            <a:xfrm rot="16200000">
              <a:off x="7942811" y="1933852"/>
              <a:ext cx="792000" cy="720000"/>
            </a:xfrm>
            <a:prstGeom prst="flowChartManualOperation">
              <a:avLst/>
            </a:prstGeom>
            <a:solidFill>
              <a:srgbClr val="D5E8D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Flowchart: Manual Operation 22">
              <a:extLst>
                <a:ext uri="{FF2B5EF4-FFF2-40B4-BE49-F238E27FC236}">
                  <a16:creationId xmlns:a16="http://schemas.microsoft.com/office/drawing/2014/main" id="{B9FEFA2F-8C4D-1960-91DD-5B566D0B23E9}"/>
                </a:ext>
              </a:extLst>
            </p:cNvPr>
            <p:cNvSpPr/>
            <p:nvPr/>
          </p:nvSpPr>
          <p:spPr>
            <a:xfrm rot="16200000">
              <a:off x="8128164" y="2122170"/>
              <a:ext cx="792000" cy="720000"/>
            </a:xfrm>
            <a:prstGeom prst="flowChartManualOperation">
              <a:avLst/>
            </a:prstGeom>
            <a:solidFill>
              <a:srgbClr val="DAE9F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7" name="Flowchart: Manual Operation 26">
            <a:extLst>
              <a:ext uri="{FF2B5EF4-FFF2-40B4-BE49-F238E27FC236}">
                <a16:creationId xmlns:a16="http://schemas.microsoft.com/office/drawing/2014/main" id="{3067EC08-3D2E-D32E-903C-574E974547C4}"/>
              </a:ext>
            </a:extLst>
          </p:cNvPr>
          <p:cNvSpPr/>
          <p:nvPr/>
        </p:nvSpPr>
        <p:spPr>
          <a:xfrm rot="16200000">
            <a:off x="2105850" y="2470505"/>
            <a:ext cx="792000" cy="720000"/>
          </a:xfrm>
          <a:prstGeom prst="flowChartManualOperation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F439EFB-152F-3363-6A30-824DDB45CD8F}"/>
              </a:ext>
            </a:extLst>
          </p:cNvPr>
          <p:cNvSpPr txBox="1"/>
          <p:nvPr/>
        </p:nvSpPr>
        <p:spPr>
          <a:xfrm>
            <a:off x="2318306" y="3482393"/>
            <a:ext cx="36708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PS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CCC0064F-4451-30FE-AE63-763DEBF82E78}"/>
              </a:ext>
            </a:extLst>
          </p:cNvPr>
          <p:cNvSpPr/>
          <p:nvPr/>
        </p:nvSpPr>
        <p:spPr>
          <a:xfrm>
            <a:off x="689143" y="2465581"/>
            <a:ext cx="720000" cy="144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00ABC37-89F6-0BEF-5811-1BCAEFF57851}"/>
              </a:ext>
            </a:extLst>
          </p:cNvPr>
          <p:cNvSpPr/>
          <p:nvPr/>
        </p:nvSpPr>
        <p:spPr>
          <a:xfrm>
            <a:off x="682803" y="2758505"/>
            <a:ext cx="720000" cy="144000"/>
          </a:xfrm>
          <a:prstGeom prst="roundRect">
            <a:avLst/>
          </a:prstGeom>
          <a:solidFill>
            <a:srgbClr val="E1D6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C7545887-C4E4-1A07-C489-005C8E97A543}"/>
              </a:ext>
            </a:extLst>
          </p:cNvPr>
          <p:cNvSpPr/>
          <p:nvPr/>
        </p:nvSpPr>
        <p:spPr>
          <a:xfrm>
            <a:off x="682803" y="3051418"/>
            <a:ext cx="720000" cy="144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01ED4BA-BCA9-6C98-0C4E-899D649A14C3}"/>
              </a:ext>
            </a:extLst>
          </p:cNvPr>
          <p:cNvGrpSpPr/>
          <p:nvPr/>
        </p:nvGrpSpPr>
        <p:grpSpPr>
          <a:xfrm>
            <a:off x="3562084" y="2591761"/>
            <a:ext cx="432000" cy="432666"/>
            <a:chOff x="4003589" y="2418908"/>
            <a:chExt cx="432000" cy="432666"/>
          </a:xfrm>
        </p:grpSpPr>
        <p:sp>
          <p:nvSpPr>
            <p:cNvPr id="36" name="Multiplication Sign 35">
              <a:extLst>
                <a:ext uri="{FF2B5EF4-FFF2-40B4-BE49-F238E27FC236}">
                  <a16:creationId xmlns:a16="http://schemas.microsoft.com/office/drawing/2014/main" id="{3DADCFDB-B7C1-A27B-59EF-7A1A7CCB67B7}"/>
                </a:ext>
              </a:extLst>
            </p:cNvPr>
            <p:cNvSpPr/>
            <p:nvPr/>
          </p:nvSpPr>
          <p:spPr>
            <a:xfrm>
              <a:off x="4003589" y="2419574"/>
              <a:ext cx="432000" cy="432000"/>
            </a:xfrm>
            <a:prstGeom prst="mathMultiply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7786228-35AA-B83F-3A6C-55A43039BA7C}"/>
                </a:ext>
              </a:extLst>
            </p:cNvPr>
            <p:cNvSpPr/>
            <p:nvPr/>
          </p:nvSpPr>
          <p:spPr>
            <a:xfrm>
              <a:off x="4003589" y="2418908"/>
              <a:ext cx="432000" cy="432000"/>
            </a:xfrm>
            <a:prstGeom prst="ellipse">
              <a:avLst/>
            </a:prstGeom>
            <a:noFill/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795CBBC-33C5-E90F-C6BB-DA71657C3635}"/>
              </a:ext>
            </a:extLst>
          </p:cNvPr>
          <p:cNvSpPr txBox="1"/>
          <p:nvPr/>
        </p:nvSpPr>
        <p:spPr>
          <a:xfrm>
            <a:off x="8023222" y="3482393"/>
            <a:ext cx="786690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L-FISTA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73CD8466-F26D-BDEC-3848-D7E502431310}"/>
              </a:ext>
            </a:extLst>
          </p:cNvPr>
          <p:cNvSpPr/>
          <p:nvPr/>
        </p:nvSpPr>
        <p:spPr>
          <a:xfrm>
            <a:off x="4795330" y="2735761"/>
            <a:ext cx="720000" cy="144000"/>
          </a:xfrm>
          <a:prstGeom prst="roundRect">
            <a:avLst/>
          </a:prstGeom>
          <a:solidFill>
            <a:srgbClr val="D7747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8ACC7E8-1E8B-FA78-5085-A453B48B617B}"/>
              </a:ext>
            </a:extLst>
          </p:cNvPr>
          <p:cNvSpPr txBox="1"/>
          <p:nvPr/>
        </p:nvSpPr>
        <p:spPr>
          <a:xfrm>
            <a:off x="4478173" y="3482393"/>
            <a:ext cx="1523559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lection Vecto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760F7BF2-B63E-AF61-0022-5B71ADD7C18B}"/>
                  </a:ext>
                </a:extLst>
              </p:cNvPr>
              <p:cNvSpPr/>
              <p:nvPr/>
            </p:nvSpPr>
            <p:spPr>
              <a:xfrm>
                <a:off x="6410289" y="3816420"/>
                <a:ext cx="468000" cy="468000"/>
              </a:xfrm>
              <a:prstGeom prst="round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𝐲</m:t>
                      </m:r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760F7BF2-B63E-AF61-0022-5B71ADD7C18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0289" y="3816420"/>
                <a:ext cx="468000" cy="468000"/>
              </a:xfrm>
              <a:prstGeom prst="roundRect">
                <a:avLst/>
              </a:prstGeom>
              <a:blipFill>
                <a:blip r:embed="rId3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3" name="TextBox 42">
            <a:extLst>
              <a:ext uri="{FF2B5EF4-FFF2-40B4-BE49-F238E27FC236}">
                <a16:creationId xmlns:a16="http://schemas.microsoft.com/office/drawing/2014/main" id="{FBFFBBFB-ED7E-105D-9ABF-562E45E72BA1}"/>
              </a:ext>
            </a:extLst>
          </p:cNvPr>
          <p:cNvSpPr txBox="1"/>
          <p:nvPr/>
        </p:nvSpPr>
        <p:spPr>
          <a:xfrm>
            <a:off x="5709105" y="3922180"/>
            <a:ext cx="500137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pu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4DB88E7-A45B-C573-B1AE-50EAA98CFA62}"/>
              </a:ext>
            </a:extLst>
          </p:cNvPr>
          <p:cNvSpPr txBox="1"/>
          <p:nvPr/>
        </p:nvSpPr>
        <p:spPr>
          <a:xfrm>
            <a:off x="10126898" y="3482393"/>
            <a:ext cx="671659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tput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3FF6D99-C1F9-1734-BF98-8E97030BAC95}"/>
              </a:ext>
            </a:extLst>
          </p:cNvPr>
          <p:cNvSpPr txBox="1"/>
          <p:nvPr/>
        </p:nvSpPr>
        <p:spPr>
          <a:xfrm>
            <a:off x="479425" y="1750980"/>
            <a:ext cx="1952690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lobal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tructure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054EB1F-C604-AC94-C125-3A38651DD07F}"/>
              </a:ext>
            </a:extLst>
          </p:cNvPr>
          <p:cNvCxnSpPr/>
          <p:nvPr/>
        </p:nvCxnSpPr>
        <p:spPr>
          <a:xfrm>
            <a:off x="1525950" y="2523158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A216B451-DDF0-8CC8-8E92-C66E7CA80AB9}"/>
              </a:ext>
            </a:extLst>
          </p:cNvPr>
          <p:cNvCxnSpPr/>
          <p:nvPr/>
        </p:nvCxnSpPr>
        <p:spPr>
          <a:xfrm>
            <a:off x="1538307" y="2819720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98086804-FFC1-54E3-3147-6B521C0AE426}"/>
              </a:ext>
            </a:extLst>
          </p:cNvPr>
          <p:cNvCxnSpPr/>
          <p:nvPr/>
        </p:nvCxnSpPr>
        <p:spPr>
          <a:xfrm>
            <a:off x="1525950" y="3122461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8414E722-4DE9-1D4D-E9A9-17B1F51B48C2}"/>
              </a:ext>
            </a:extLst>
          </p:cNvPr>
          <p:cNvCxnSpPr>
            <a:cxnSpLocks/>
          </p:cNvCxnSpPr>
          <p:nvPr/>
        </p:nvCxnSpPr>
        <p:spPr>
          <a:xfrm>
            <a:off x="2984047" y="2609581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AB871C6D-714F-2DAD-E129-7CCC5E0D509B}"/>
              </a:ext>
            </a:extLst>
          </p:cNvPr>
          <p:cNvCxnSpPr>
            <a:cxnSpLocks/>
          </p:cNvCxnSpPr>
          <p:nvPr/>
        </p:nvCxnSpPr>
        <p:spPr>
          <a:xfrm>
            <a:off x="2984047" y="2811137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0E4392A9-5166-8C80-2ECA-E973D5FA6DFC}"/>
              </a:ext>
            </a:extLst>
          </p:cNvPr>
          <p:cNvCxnSpPr>
            <a:cxnSpLocks/>
          </p:cNvCxnSpPr>
          <p:nvPr/>
        </p:nvCxnSpPr>
        <p:spPr>
          <a:xfrm>
            <a:off x="2984047" y="3012693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B781F0C0-3420-C66A-2041-8005522F4329}"/>
              </a:ext>
            </a:extLst>
          </p:cNvPr>
          <p:cNvCxnSpPr>
            <a:cxnSpLocks/>
          </p:cNvCxnSpPr>
          <p:nvPr/>
        </p:nvCxnSpPr>
        <p:spPr>
          <a:xfrm>
            <a:off x="4169254" y="2819720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0580D7EF-32EC-E83E-402A-041F7E344C19}"/>
              </a:ext>
            </a:extLst>
          </p:cNvPr>
          <p:cNvCxnSpPr>
            <a:cxnSpLocks/>
          </p:cNvCxnSpPr>
          <p:nvPr/>
        </p:nvCxnSpPr>
        <p:spPr>
          <a:xfrm>
            <a:off x="5776221" y="2811137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01D69673-3987-CF2C-45A4-CC7FDBDDDDEC}"/>
              </a:ext>
            </a:extLst>
          </p:cNvPr>
          <p:cNvCxnSpPr>
            <a:cxnSpLocks/>
          </p:cNvCxnSpPr>
          <p:nvPr/>
        </p:nvCxnSpPr>
        <p:spPr>
          <a:xfrm flipV="1">
            <a:off x="6676120" y="3169944"/>
            <a:ext cx="0" cy="59783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8457B087-9502-63E0-084A-73C7D3D08442}"/>
              </a:ext>
            </a:extLst>
          </p:cNvPr>
          <p:cNvCxnSpPr>
            <a:cxnSpLocks/>
          </p:cNvCxnSpPr>
          <p:nvPr/>
        </p:nvCxnSpPr>
        <p:spPr>
          <a:xfrm>
            <a:off x="7154000" y="2811137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15EFF5F5-5E70-4D3E-E17B-AEFAC8C51771}"/>
              </a:ext>
            </a:extLst>
          </p:cNvPr>
          <p:cNvCxnSpPr>
            <a:cxnSpLocks/>
          </p:cNvCxnSpPr>
          <p:nvPr/>
        </p:nvCxnSpPr>
        <p:spPr>
          <a:xfrm>
            <a:off x="9390573" y="2835851"/>
            <a:ext cx="451021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D7D3C311-7F37-1163-B797-787960B13307}"/>
                  </a:ext>
                </a:extLst>
              </p:cNvPr>
              <p:cNvSpPr/>
              <p:nvPr/>
            </p:nvSpPr>
            <p:spPr>
              <a:xfrm>
                <a:off x="6428289" y="5060101"/>
                <a:ext cx="468000" cy="468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l">
                  <a:lnSpc>
                    <a:spcPts val="1960"/>
                  </a:lnSpc>
                  <a:buClr>
                    <a:schemeClr val="accent1"/>
                  </a:buClr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1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𝐱</m:t>
                      </m:r>
                    </m:oMath>
                  </m:oMathPara>
                </a14:m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D7D3C311-7F37-1163-B797-787960B1330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8289" y="5060101"/>
                <a:ext cx="468000" cy="468000"/>
              </a:xfrm>
              <a:prstGeom prst="roundRect">
                <a:avLst/>
              </a:prstGeom>
              <a:blipFill>
                <a:blip r:embed="rId4"/>
                <a:stretch>
                  <a:fillRect/>
                </a:stretch>
              </a:blipFill>
              <a:ln w="9525"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BD54813D-84EC-CFEB-CC44-91AE9D102FC1}"/>
              </a:ext>
            </a:extLst>
          </p:cNvPr>
          <p:cNvSpPr txBox="1"/>
          <p:nvPr/>
        </p:nvSpPr>
        <p:spPr>
          <a:xfrm>
            <a:off x="4942114" y="5178350"/>
            <a:ext cx="1261179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ound Truth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6D430F3-5A33-F5DF-9436-0E63C37ABFDE}"/>
              </a:ext>
            </a:extLst>
          </p:cNvPr>
          <p:cNvCxnSpPr>
            <a:cxnSpLocks/>
          </p:cNvCxnSpPr>
          <p:nvPr/>
        </p:nvCxnSpPr>
        <p:spPr>
          <a:xfrm flipV="1">
            <a:off x="6662289" y="4345670"/>
            <a:ext cx="0" cy="59783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370386F-27B3-9EA7-6068-886D7CB57809}"/>
              </a:ext>
            </a:extLst>
          </p:cNvPr>
          <p:cNvGrpSpPr/>
          <p:nvPr/>
        </p:nvGrpSpPr>
        <p:grpSpPr>
          <a:xfrm>
            <a:off x="8828213" y="4971411"/>
            <a:ext cx="2026762" cy="491309"/>
            <a:chOff x="9096866" y="4943508"/>
            <a:chExt cx="2026762" cy="49130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92A81464-872A-DC4F-3750-F4A6F714E58B}"/>
                    </a:ext>
                  </a:extLst>
                </p:cNvPr>
                <p:cNvSpPr txBox="1"/>
                <p:nvPr/>
              </p:nvSpPr>
              <p:spPr>
                <a:xfrm>
                  <a:off x="9349570" y="5092751"/>
                  <a:ext cx="1554656" cy="25648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>
                    <a:lnSpc>
                      <a:spcPts val="1960"/>
                    </a:lnSpc>
                    <a:buClr>
                      <a:schemeClr val="accent1"/>
                    </a:buClr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20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𝓛</m:t>
                        </m:r>
                        <m:r>
                          <a:rPr lang="en-US" sz="20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en-US" sz="2000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en-US" sz="2000" b="1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2000" b="1" i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𝐱</m:t>
                                </m:r>
                                <m:r>
                                  <a:rPr lang="en-US" sz="2000" b="1" i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−</m:t>
                                </m:r>
                                <m:acc>
                                  <m:accPr>
                                    <m:chr m:val="̂"/>
                                    <m:ctrlPr>
                                      <a:rPr lang="en-US" sz="2000" b="1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en-US" sz="2000" b="1" i="0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𝐱</m:t>
                                    </m:r>
                                  </m:e>
                                </m:acc>
                              </m:e>
                            </m:d>
                          </m:e>
                          <m:sub>
                            <m:r>
                              <a:rPr lang="en-US" sz="2000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𝒑</m:t>
                            </m:r>
                          </m:sub>
                        </m:sSub>
                      </m:oMath>
                    </m:oMathPara>
                  </a14:m>
                  <a:endParaRPr lang="en-US" sz="2000" b="1" dirty="0"/>
                </a:p>
              </p:txBody>
            </p:sp>
          </mc:Choice>
          <mc:Fallback xmlns=""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92A81464-872A-DC4F-3750-F4A6F714E58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349570" y="5092751"/>
                  <a:ext cx="1554656" cy="256480"/>
                </a:xfrm>
                <a:prstGeom prst="rect">
                  <a:avLst/>
                </a:prstGeom>
                <a:blipFill>
                  <a:blip r:embed="rId5"/>
                  <a:stretch>
                    <a:fillRect l="-2745" t="-50000" r="-6275" b="-38095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4A3C9B4-ACC2-56CF-40E8-15F71C227BC9}"/>
                </a:ext>
              </a:extLst>
            </p:cNvPr>
            <p:cNvSpPr/>
            <p:nvPr/>
          </p:nvSpPr>
          <p:spPr>
            <a:xfrm>
              <a:off x="9096866" y="4943508"/>
              <a:ext cx="2026762" cy="491309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54CEECA-53A5-12ED-018A-F8A9F2939C7B}"/>
              </a:ext>
            </a:extLst>
          </p:cNvPr>
          <p:cNvCxnSpPr>
            <a:cxnSpLocks/>
          </p:cNvCxnSpPr>
          <p:nvPr/>
        </p:nvCxnSpPr>
        <p:spPr>
          <a:xfrm flipH="1" flipV="1">
            <a:off x="10462727" y="3861740"/>
            <a:ext cx="2462" cy="896757"/>
          </a:xfrm>
          <a:prstGeom prst="straightConnector1">
            <a:avLst/>
          </a:prstGeom>
          <a:ln w="28575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965DAE5-AED3-BD8D-3E81-5A4B0AB1047A}"/>
              </a:ext>
            </a:extLst>
          </p:cNvPr>
          <p:cNvCxnSpPr>
            <a:cxnSpLocks/>
          </p:cNvCxnSpPr>
          <p:nvPr/>
        </p:nvCxnSpPr>
        <p:spPr>
          <a:xfrm>
            <a:off x="7285658" y="5269190"/>
            <a:ext cx="1252296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6452DEF5-14EC-7CD0-68E7-AF087B0CE1B0}"/>
              </a:ext>
            </a:extLst>
          </p:cNvPr>
          <p:cNvSpPr txBox="1"/>
          <p:nvPr/>
        </p:nvSpPr>
        <p:spPr>
          <a:xfrm>
            <a:off x="1811945" y="4374504"/>
            <a:ext cx="1030731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. L1 Norm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08D1C94-9F77-21CA-927B-3CDEAEE2F34B}"/>
              </a:ext>
            </a:extLst>
          </p:cNvPr>
          <p:cNvSpPr txBox="1"/>
          <p:nvPr/>
        </p:nvSpPr>
        <p:spPr>
          <a:xfrm>
            <a:off x="1811945" y="4734828"/>
            <a:ext cx="1030731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. L2 Norm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1C9AB20-7253-8E99-0C77-31924142D2C4}"/>
              </a:ext>
            </a:extLst>
          </p:cNvPr>
          <p:cNvSpPr txBox="1"/>
          <p:nvPr/>
        </p:nvSpPr>
        <p:spPr>
          <a:xfrm>
            <a:off x="1811945" y="5090657"/>
            <a:ext cx="1263166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. Huber Loss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742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7" grpId="0" animBg="1"/>
      <p:bldP spid="28" grpId="0"/>
      <p:bldP spid="29" grpId="0" animBg="1"/>
      <p:bldP spid="31" grpId="0" animBg="1"/>
      <p:bldP spid="33" grpId="0" animBg="1"/>
      <p:bldP spid="39" grpId="0"/>
      <p:bldP spid="40" grpId="0" animBg="1"/>
      <p:bldP spid="41" grpId="0"/>
      <p:bldP spid="42" grpId="0" animBg="1"/>
      <p:bldP spid="43" grpId="0"/>
      <p:bldP spid="45" grpId="0"/>
      <p:bldP spid="54" grpId="0"/>
      <p:bldP spid="9" grpId="0" animBg="1"/>
      <p:bldP spid="10" grpId="0"/>
      <p:bldP spid="51" grpId="0"/>
      <p:bldP spid="52" grpId="0"/>
      <p:bldP spid="5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A1A61D-CF67-BC2D-5F95-44C0D569E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D4CC6C-B122-7CD6-78D6-3AA8D0FEA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15.04.2024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A95C91-27A7-1AB3-6774-3AB24F89BA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9553D-FA9D-53A4-189F-C75FD8BFF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163042E-5A61-ACDC-3DC1-5E15535DF9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valuation and Conclus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268DEA-798B-C697-3B7A-8BF7E0FD88F7}"/>
              </a:ext>
            </a:extLst>
          </p:cNvPr>
          <p:cNvSpPr txBox="1"/>
          <p:nvPr/>
        </p:nvSpPr>
        <p:spPr>
          <a:xfrm>
            <a:off x="547391" y="1700213"/>
            <a:ext cx="2952000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valuation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etrics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2F1642-B3BC-CD62-8C1E-C5B26FE0F0C2}"/>
              </a:ext>
            </a:extLst>
          </p:cNvPr>
          <p:cNvSpPr txBox="1"/>
          <p:nvPr/>
        </p:nvSpPr>
        <p:spPr>
          <a:xfrm>
            <a:off x="706020" y="2255323"/>
            <a:ext cx="2424382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. </a:t>
            </a:r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trast</a:t>
            </a: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</a:t>
            </a:r>
            <a:r>
              <a:rPr lang="de-DE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o</a:t>
            </a: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Noise Ratio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0205595-60DE-B10F-07CE-FE1A48B820C7}"/>
              </a:ext>
            </a:extLst>
          </p:cNvPr>
          <p:cNvSpPr txBox="1"/>
          <p:nvPr/>
        </p:nvSpPr>
        <p:spPr>
          <a:xfrm>
            <a:off x="706020" y="2615647"/>
            <a:ext cx="2164632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. Reconstruction Error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4DB3A5-E8F4-5DAA-4A21-CEEC1503B3DA}"/>
              </a:ext>
            </a:extLst>
          </p:cNvPr>
          <p:cNvSpPr txBox="1"/>
          <p:nvPr/>
        </p:nvSpPr>
        <p:spPr>
          <a:xfrm>
            <a:off x="6096000" y="1725776"/>
            <a:ext cx="1961034" cy="26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mmary: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8892274-736E-84A8-B98C-308E1953ADC4}"/>
              </a:ext>
            </a:extLst>
          </p:cNvPr>
          <p:cNvSpPr txBox="1"/>
          <p:nvPr/>
        </p:nvSpPr>
        <p:spPr>
          <a:xfrm>
            <a:off x="6253243" y="2222347"/>
            <a:ext cx="4788747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. Gumbel-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oftmax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is applied to form one-hot row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AD20061-0E10-ABC7-9BC5-1CB78B4306A6}"/>
              </a:ext>
            </a:extLst>
          </p:cNvPr>
          <p:cNvSpPr txBox="1"/>
          <p:nvPr/>
        </p:nvSpPr>
        <p:spPr>
          <a:xfrm>
            <a:off x="6253243" y="3032622"/>
            <a:ext cx="3612656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opK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rick converts matrix to vector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49C928-DEDD-35F9-8B19-B7889446945F}"/>
              </a:ext>
            </a:extLst>
          </p:cNvPr>
          <p:cNvSpPr txBox="1"/>
          <p:nvPr/>
        </p:nvSpPr>
        <p:spPr>
          <a:xfrm>
            <a:off x="6253243" y="3842897"/>
            <a:ext cx="3959674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. Parallel structure enables joint learning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9E9BF7-89BC-50A6-51DC-4A63F46A01C5}"/>
              </a:ext>
            </a:extLst>
          </p:cNvPr>
          <p:cNvSpPr txBox="1"/>
          <p:nvPr/>
        </p:nvSpPr>
        <p:spPr>
          <a:xfrm>
            <a:off x="6253243" y="4653171"/>
            <a:ext cx="4860618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. Customized complex-valued layers are used for complex-valued signal recovery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766A065-0135-E28F-519F-90D3679F43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25" y="3059786"/>
            <a:ext cx="4650749" cy="232537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41373A0-4383-6332-2933-EA4D4825BC5B}"/>
              </a:ext>
            </a:extLst>
          </p:cNvPr>
          <p:cNvSpPr txBox="1"/>
          <p:nvPr/>
        </p:nvSpPr>
        <p:spPr>
          <a:xfrm>
            <a:off x="995996" y="5543458"/>
            <a:ext cx="4650748" cy="2464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1600" dirty="0"/>
              <a:t>Fig. Reconstructed Image at Compression Ratio = 2.5%</a:t>
            </a:r>
          </a:p>
        </p:txBody>
      </p:sp>
    </p:spTree>
    <p:extLst>
      <p:ext uri="{BB962C8B-B14F-4D97-AF65-F5344CB8AC3E}">
        <p14:creationId xmlns:p14="http://schemas.microsoft.com/office/powerpoint/2010/main" val="2104663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Current_Status_SAD" id="{C8414DCF-278D-4E78-952E-44BADB92A0DE}" vid="{AAC81E08-2F0A-47BD-B75E-3CFFD4C63EB6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urrent_Status_SAD</Template>
  <TotalTime>2493</TotalTime>
  <Words>576</Words>
  <Application>Microsoft Office PowerPoint</Application>
  <PresentationFormat>Widescreen</PresentationFormat>
  <Paragraphs>270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Frutiger LT Com 45 Light</vt:lpstr>
      <vt:lpstr>Frutiger LT Com 65 Bold</vt:lpstr>
      <vt:lpstr>Frutiger LT Com 75 Black</vt:lpstr>
      <vt:lpstr>Arial</vt:lpstr>
      <vt:lpstr>Cambria Math</vt:lpstr>
      <vt:lpstr>Times New Roman</vt:lpstr>
      <vt:lpstr>Wingdings</vt:lpstr>
      <vt:lpstr>Fraunhofer_Master_16-9</vt:lpstr>
      <vt:lpstr>think-cell Folie</vt:lpstr>
      <vt:lpstr>PowerPoint Presentation</vt:lpstr>
      <vt:lpstr>Overview</vt:lpstr>
      <vt:lpstr>Overview</vt:lpstr>
      <vt:lpstr>Structured Subsampling</vt:lpstr>
      <vt:lpstr>Deep Probabilistic Subsampling (SOTA)</vt:lpstr>
      <vt:lpstr>Joint Deep Probabilistic Subsampling</vt:lpstr>
      <vt:lpstr>Learned Sparse Signal Recovery</vt:lpstr>
      <vt:lpstr>Global Network Architecture</vt:lpstr>
      <vt:lpstr>Summary</vt:lpstr>
    </vt:vector>
  </TitlesOfParts>
  <Company>Fraunhofer IZF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ang, Han</dc:creator>
  <cp:lastModifiedBy>Wang, Han</cp:lastModifiedBy>
  <cp:revision>153</cp:revision>
  <dcterms:created xsi:type="dcterms:W3CDTF">2023-01-30T08:10:47Z</dcterms:created>
  <dcterms:modified xsi:type="dcterms:W3CDTF">2024-04-15T04:58:29Z</dcterms:modified>
</cp:coreProperties>
</file>